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Lst>
  <p:notesMasterIdLst>
    <p:notesMasterId r:id="rId10"/>
  </p:notesMasterIdLst>
  <p:sldIdLst>
    <p:sldId id="256" r:id="rId2"/>
    <p:sldId id="264" r:id="rId3"/>
    <p:sldId id="258" r:id="rId4"/>
    <p:sldId id="259" r:id="rId5"/>
    <p:sldId id="260" r:id="rId6"/>
    <p:sldId id="261" r:id="rId7"/>
    <p:sldId id="262" r:id="rId8"/>
    <p:sldId id="263"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C8CB70-88F4-45BA-B7EC-1A33A2537059}" v="1" dt="2020-06-09T15:48:13.7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91" d="100"/>
          <a:sy n="91" d="100"/>
        </p:scale>
        <p:origin x="56" y="3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geeta Chatterjee" userId="66e5ecfe158147c5" providerId="LiveId" clId="{C4ADBB92-6B11-4F9A-9E88-862A3E7FC29E}"/>
    <pc:docChg chg="custSel mod addSld delSld modSld">
      <pc:chgData name="Sangeeta Chatterjee" userId="66e5ecfe158147c5" providerId="LiveId" clId="{C4ADBB92-6B11-4F9A-9E88-862A3E7FC29E}" dt="2020-05-17T09:50:13.237" v="2082" actId="255"/>
      <pc:docMkLst>
        <pc:docMk/>
      </pc:docMkLst>
      <pc:sldChg chg="modSp mod">
        <pc:chgData name="Sangeeta Chatterjee" userId="66e5ecfe158147c5" providerId="LiveId" clId="{C4ADBB92-6B11-4F9A-9E88-862A3E7FC29E}" dt="2020-05-17T09:50:13.237" v="2082" actId="255"/>
        <pc:sldMkLst>
          <pc:docMk/>
          <pc:sldMk cId="498015582" sldId="256"/>
        </pc:sldMkLst>
        <pc:spChg chg="mod">
          <ac:chgData name="Sangeeta Chatterjee" userId="66e5ecfe158147c5" providerId="LiveId" clId="{C4ADBB92-6B11-4F9A-9E88-862A3E7FC29E}" dt="2020-05-17T09:50:13.237" v="2082" actId="255"/>
          <ac:spMkLst>
            <pc:docMk/>
            <pc:sldMk cId="498015582" sldId="256"/>
            <ac:spMk id="2" creationId="{2F5669BF-0566-420F-91F7-88C312740194}"/>
          </ac:spMkLst>
        </pc:spChg>
        <pc:spChg chg="mod">
          <ac:chgData name="Sangeeta Chatterjee" userId="66e5ecfe158147c5" providerId="LiveId" clId="{C4ADBB92-6B11-4F9A-9E88-862A3E7FC29E}" dt="2020-05-14T19:25:41.483" v="2037" actId="20577"/>
          <ac:spMkLst>
            <pc:docMk/>
            <pc:sldMk cId="498015582" sldId="256"/>
            <ac:spMk id="3" creationId="{1740717D-763B-4CD5-A9F4-0DD2055E976F}"/>
          </ac:spMkLst>
        </pc:spChg>
      </pc:sldChg>
      <pc:sldChg chg="modSp mod">
        <pc:chgData name="Sangeeta Chatterjee" userId="66e5ecfe158147c5" providerId="LiveId" clId="{C4ADBB92-6B11-4F9A-9E88-862A3E7FC29E}" dt="2020-05-13T15:13:13.224" v="1762" actId="20577"/>
        <pc:sldMkLst>
          <pc:docMk/>
          <pc:sldMk cId="0" sldId="258"/>
        </pc:sldMkLst>
        <pc:spChg chg="mod">
          <ac:chgData name="Sangeeta Chatterjee" userId="66e5ecfe158147c5" providerId="LiveId" clId="{C4ADBB92-6B11-4F9A-9E88-862A3E7FC29E}" dt="2020-05-12T09:39:27.370" v="518" actId="20577"/>
          <ac:spMkLst>
            <pc:docMk/>
            <pc:sldMk cId="0" sldId="258"/>
            <ac:spMk id="33" creationId="{D685EC4D-F753-444E-B55B-940827EE7BE2}"/>
          </ac:spMkLst>
        </pc:spChg>
        <pc:spChg chg="mod">
          <ac:chgData name="Sangeeta Chatterjee" userId="66e5ecfe158147c5" providerId="LiveId" clId="{C4ADBB92-6B11-4F9A-9E88-862A3E7FC29E}" dt="2020-05-13T15:13:13.224" v="1762" actId="20577"/>
          <ac:spMkLst>
            <pc:docMk/>
            <pc:sldMk cId="0" sldId="258"/>
            <ac:spMk id="51" creationId="{00000000-0000-0000-0000-000000000000}"/>
          </ac:spMkLst>
        </pc:spChg>
        <pc:spChg chg="mod">
          <ac:chgData name="Sangeeta Chatterjee" userId="66e5ecfe158147c5" providerId="LiveId" clId="{C4ADBB92-6B11-4F9A-9E88-862A3E7FC29E}" dt="2020-05-12T09:38:02.671" v="476" actId="1076"/>
          <ac:spMkLst>
            <pc:docMk/>
            <pc:sldMk cId="0" sldId="258"/>
            <ac:spMk id="56" creationId="{00000000-0000-0000-0000-000000000000}"/>
          </ac:spMkLst>
        </pc:spChg>
      </pc:sldChg>
      <pc:sldChg chg="addSp delSp modSp mod">
        <pc:chgData name="Sangeeta Chatterjee" userId="66e5ecfe158147c5" providerId="LiveId" clId="{C4ADBB92-6B11-4F9A-9E88-862A3E7FC29E}" dt="2020-05-14T15:42:28.081" v="1948" actId="1036"/>
        <pc:sldMkLst>
          <pc:docMk/>
          <pc:sldMk cId="3634690035" sldId="259"/>
        </pc:sldMkLst>
        <pc:spChg chg="del mod">
          <ac:chgData name="Sangeeta Chatterjee" userId="66e5ecfe158147c5" providerId="LiveId" clId="{C4ADBB92-6B11-4F9A-9E88-862A3E7FC29E}" dt="2020-05-14T15:42:06.405" v="1764" actId="21"/>
          <ac:spMkLst>
            <pc:docMk/>
            <pc:sldMk cId="3634690035" sldId="259"/>
            <ac:spMk id="7" creationId="{AC53AF2F-FCB9-4FB3-A128-BA543D3D1CC7}"/>
          </ac:spMkLst>
        </pc:spChg>
        <pc:spChg chg="add mod">
          <ac:chgData name="Sangeeta Chatterjee" userId="66e5ecfe158147c5" providerId="LiveId" clId="{C4ADBB92-6B11-4F9A-9E88-862A3E7FC29E}" dt="2020-05-14T15:42:20.724" v="1931" actId="1037"/>
          <ac:spMkLst>
            <pc:docMk/>
            <pc:sldMk cId="3634690035" sldId="259"/>
            <ac:spMk id="9" creationId="{69E1AFB1-8ECF-47B3-BC33-31F7CE436229}"/>
          </ac:spMkLst>
        </pc:spChg>
        <pc:picChg chg="mod">
          <ac:chgData name="Sangeeta Chatterjee" userId="66e5ecfe158147c5" providerId="LiveId" clId="{C4ADBB92-6B11-4F9A-9E88-862A3E7FC29E}" dt="2020-05-14T15:42:13.767" v="1847" actId="1038"/>
          <ac:picMkLst>
            <pc:docMk/>
            <pc:sldMk cId="3634690035" sldId="259"/>
            <ac:picMk id="4" creationId="{9F31DD5A-AD4F-4388-8914-FD2448A8404F}"/>
          </ac:picMkLst>
        </pc:picChg>
        <pc:picChg chg="mod">
          <ac:chgData name="Sangeeta Chatterjee" userId="66e5ecfe158147c5" providerId="LiveId" clId="{C4ADBB92-6B11-4F9A-9E88-862A3E7FC29E}" dt="2020-05-14T15:42:28.081" v="1948" actId="1036"/>
          <ac:picMkLst>
            <pc:docMk/>
            <pc:sldMk cId="3634690035" sldId="259"/>
            <ac:picMk id="5" creationId="{3BCDE96C-7612-4608-A663-E895BF900FA6}"/>
          </ac:picMkLst>
        </pc:picChg>
      </pc:sldChg>
      <pc:sldChg chg="modSp mod">
        <pc:chgData name="Sangeeta Chatterjee" userId="66e5ecfe158147c5" providerId="LiveId" clId="{C4ADBB92-6B11-4F9A-9E88-862A3E7FC29E}" dt="2020-05-12T10:09:06.178" v="687" actId="20577"/>
        <pc:sldMkLst>
          <pc:docMk/>
          <pc:sldMk cId="457317105" sldId="260"/>
        </pc:sldMkLst>
        <pc:spChg chg="mod">
          <ac:chgData name="Sangeeta Chatterjee" userId="66e5ecfe158147c5" providerId="LiveId" clId="{C4ADBB92-6B11-4F9A-9E88-862A3E7FC29E}" dt="2020-05-12T10:09:06.178" v="687" actId="20577"/>
          <ac:spMkLst>
            <pc:docMk/>
            <pc:sldMk cId="457317105" sldId="260"/>
            <ac:spMk id="2" creationId="{62D79809-5337-4E82-9CD6-E82F56502469}"/>
          </ac:spMkLst>
        </pc:spChg>
        <pc:spChg chg="mod">
          <ac:chgData name="Sangeeta Chatterjee" userId="66e5ecfe158147c5" providerId="LiveId" clId="{C4ADBB92-6B11-4F9A-9E88-862A3E7FC29E}" dt="2020-05-12T10:08:38.776" v="675" actId="14100"/>
          <ac:spMkLst>
            <pc:docMk/>
            <pc:sldMk cId="457317105" sldId="260"/>
            <ac:spMk id="37" creationId="{A7E5AFBE-A7A4-42A8-B148-87B149BF5652}"/>
          </ac:spMkLst>
        </pc:spChg>
        <pc:picChg chg="mod">
          <ac:chgData name="Sangeeta Chatterjee" userId="66e5ecfe158147c5" providerId="LiveId" clId="{C4ADBB92-6B11-4F9A-9E88-862A3E7FC29E}" dt="2020-05-12T09:17:33.343" v="2" actId="14100"/>
          <ac:picMkLst>
            <pc:docMk/>
            <pc:sldMk cId="457317105" sldId="260"/>
            <ac:picMk id="3" creationId="{EB68786D-CFD3-465C-A974-489974A16747}"/>
          </ac:picMkLst>
        </pc:picChg>
      </pc:sldChg>
      <pc:sldChg chg="addSp delSp modSp new mod">
        <pc:chgData name="Sangeeta Chatterjee" userId="66e5ecfe158147c5" providerId="LiveId" clId="{C4ADBB92-6B11-4F9A-9E88-862A3E7FC29E}" dt="2020-05-12T10:11:57.106" v="851" actId="20577"/>
        <pc:sldMkLst>
          <pc:docMk/>
          <pc:sldMk cId="3667626358" sldId="261"/>
        </pc:sldMkLst>
        <pc:spChg chg="mod">
          <ac:chgData name="Sangeeta Chatterjee" userId="66e5ecfe158147c5" providerId="LiveId" clId="{C4ADBB92-6B11-4F9A-9E88-862A3E7FC29E}" dt="2020-05-12T10:11:57.106" v="851" actId="20577"/>
          <ac:spMkLst>
            <pc:docMk/>
            <pc:sldMk cId="3667626358" sldId="261"/>
            <ac:spMk id="2" creationId="{2EC5973A-9E89-43CD-B90A-A6D45E9E6502}"/>
          </ac:spMkLst>
        </pc:spChg>
        <pc:spChg chg="add mod">
          <ac:chgData name="Sangeeta Chatterjee" userId="66e5ecfe158147c5" providerId="LiveId" clId="{C4ADBB92-6B11-4F9A-9E88-862A3E7FC29E}" dt="2020-05-12T10:08:43.555" v="676"/>
          <ac:spMkLst>
            <pc:docMk/>
            <pc:sldMk cId="3667626358" sldId="261"/>
            <ac:spMk id="6" creationId="{8E8BF04F-252C-4815-9028-56F621CD2720}"/>
          </ac:spMkLst>
        </pc:spChg>
        <pc:picChg chg="add mod">
          <ac:chgData name="Sangeeta Chatterjee" userId="66e5ecfe158147c5" providerId="LiveId" clId="{C4ADBB92-6B11-4F9A-9E88-862A3E7FC29E}" dt="2020-05-12T10:07:23.413" v="595" actId="14100"/>
          <ac:picMkLst>
            <pc:docMk/>
            <pc:sldMk cId="3667626358" sldId="261"/>
            <ac:picMk id="3" creationId="{B92E5C6A-7EDC-41CE-9444-6CF9FCE85CFA}"/>
          </ac:picMkLst>
        </pc:picChg>
        <pc:picChg chg="add del mod">
          <ac:chgData name="Sangeeta Chatterjee" userId="66e5ecfe158147c5" providerId="LiveId" clId="{C4ADBB92-6B11-4F9A-9E88-862A3E7FC29E}" dt="2020-05-12T10:08:01.668" v="603" actId="478"/>
          <ac:picMkLst>
            <pc:docMk/>
            <pc:sldMk cId="3667626358" sldId="261"/>
            <ac:picMk id="4" creationId="{4168CCBD-BF33-43BD-B6C4-EA8B0C90C3E1}"/>
          </ac:picMkLst>
        </pc:picChg>
        <pc:picChg chg="add del mod">
          <ac:chgData name="Sangeeta Chatterjee" userId="66e5ecfe158147c5" providerId="LiveId" clId="{C4ADBB92-6B11-4F9A-9E88-862A3E7FC29E}" dt="2020-05-12T10:10:04.815" v="704" actId="478"/>
          <ac:picMkLst>
            <pc:docMk/>
            <pc:sldMk cId="3667626358" sldId="261"/>
            <ac:picMk id="5" creationId="{49F2A7A0-F6A7-4B16-ACEB-C3B9066FA6EE}"/>
          </ac:picMkLst>
        </pc:picChg>
        <pc:picChg chg="add mod">
          <ac:chgData name="Sangeeta Chatterjee" userId="66e5ecfe158147c5" providerId="LiveId" clId="{C4ADBB92-6B11-4F9A-9E88-862A3E7FC29E}" dt="2020-05-12T10:10:35.148" v="744" actId="14100"/>
          <ac:picMkLst>
            <pc:docMk/>
            <pc:sldMk cId="3667626358" sldId="261"/>
            <ac:picMk id="7" creationId="{DA576CD6-5514-43F9-AC16-C03CD8C8EE3D}"/>
          </ac:picMkLst>
        </pc:picChg>
      </pc:sldChg>
      <pc:sldChg chg="addSp modSp new mod">
        <pc:chgData name="Sangeeta Chatterjee" userId="66e5ecfe158147c5" providerId="LiveId" clId="{C4ADBB92-6B11-4F9A-9E88-862A3E7FC29E}" dt="2020-05-14T19:21:19.071" v="2008" actId="14100"/>
        <pc:sldMkLst>
          <pc:docMk/>
          <pc:sldMk cId="829997695" sldId="262"/>
        </pc:sldMkLst>
        <pc:spChg chg="mod">
          <ac:chgData name="Sangeeta Chatterjee" userId="66e5ecfe158147c5" providerId="LiveId" clId="{C4ADBB92-6B11-4F9A-9E88-862A3E7FC29E}" dt="2020-05-12T10:15:47.953" v="994" actId="20577"/>
          <ac:spMkLst>
            <pc:docMk/>
            <pc:sldMk cId="829997695" sldId="262"/>
            <ac:spMk id="2" creationId="{958FAD66-69C8-4BED-B9D0-1F7DA0E3BF3A}"/>
          </ac:spMkLst>
        </pc:spChg>
        <pc:spChg chg="add mod">
          <ac:chgData name="Sangeeta Chatterjee" userId="66e5ecfe158147c5" providerId="LiveId" clId="{C4ADBB92-6B11-4F9A-9E88-862A3E7FC29E}" dt="2020-05-14T19:21:19.071" v="2008" actId="14100"/>
          <ac:spMkLst>
            <pc:docMk/>
            <pc:sldMk cId="829997695" sldId="262"/>
            <ac:spMk id="4" creationId="{8804BFF3-3DD0-4BC2-BE82-DD43114997EA}"/>
          </ac:spMkLst>
        </pc:spChg>
        <pc:picChg chg="add mod">
          <ac:chgData name="Sangeeta Chatterjee" userId="66e5ecfe158147c5" providerId="LiveId" clId="{C4ADBB92-6B11-4F9A-9E88-862A3E7FC29E}" dt="2020-05-12T10:13:50.209" v="855" actId="14100"/>
          <ac:picMkLst>
            <pc:docMk/>
            <pc:sldMk cId="829997695" sldId="262"/>
            <ac:picMk id="3" creationId="{4EF2F85E-4DBB-4C09-9450-B68B74055604}"/>
          </ac:picMkLst>
        </pc:picChg>
      </pc:sldChg>
      <pc:sldChg chg="addSp modSp new mod setBg">
        <pc:chgData name="Sangeeta Chatterjee" userId="66e5ecfe158147c5" providerId="LiveId" clId="{C4ADBB92-6B11-4F9A-9E88-862A3E7FC29E}" dt="2020-05-12T10:28:28.051" v="1761" actId="2711"/>
        <pc:sldMkLst>
          <pc:docMk/>
          <pc:sldMk cId="2772842547" sldId="263"/>
        </pc:sldMkLst>
        <pc:spChg chg="mod">
          <ac:chgData name="Sangeeta Chatterjee" userId="66e5ecfe158147c5" providerId="LiveId" clId="{C4ADBB92-6B11-4F9A-9E88-862A3E7FC29E}" dt="2020-05-12T10:28:19.727" v="1760" actId="122"/>
          <ac:spMkLst>
            <pc:docMk/>
            <pc:sldMk cId="2772842547" sldId="263"/>
            <ac:spMk id="2" creationId="{B8724394-7B0C-498B-9511-C2C1FBB5C4B3}"/>
          </ac:spMkLst>
        </pc:spChg>
        <pc:spChg chg="add mod">
          <ac:chgData name="Sangeeta Chatterjee" userId="66e5ecfe158147c5" providerId="LiveId" clId="{C4ADBB92-6B11-4F9A-9E88-862A3E7FC29E}" dt="2020-05-12T10:28:28.051" v="1761" actId="2711"/>
          <ac:spMkLst>
            <pc:docMk/>
            <pc:sldMk cId="2772842547" sldId="263"/>
            <ac:spMk id="3" creationId="{4252C28A-9D63-4AF2-A54B-EA7F97BA0B52}"/>
          </ac:spMkLst>
        </pc:spChg>
        <pc:spChg chg="add">
          <ac:chgData name="Sangeeta Chatterjee" userId="66e5ecfe158147c5" providerId="LiveId" clId="{C4ADBB92-6B11-4F9A-9E88-862A3E7FC29E}" dt="2020-05-12T10:27:51.409" v="1757" actId="26606"/>
          <ac:spMkLst>
            <pc:docMk/>
            <pc:sldMk cId="2772842547" sldId="263"/>
            <ac:spMk id="9" creationId="{2DF7C36B-2A95-4DB1-A402-5367DFD51180}"/>
          </ac:spMkLst>
        </pc:spChg>
        <pc:spChg chg="add">
          <ac:chgData name="Sangeeta Chatterjee" userId="66e5ecfe158147c5" providerId="LiveId" clId="{C4ADBB92-6B11-4F9A-9E88-862A3E7FC29E}" dt="2020-05-12T10:27:51.409" v="1757" actId="26606"/>
          <ac:spMkLst>
            <pc:docMk/>
            <pc:sldMk cId="2772842547" sldId="263"/>
            <ac:spMk id="11" creationId="{9FCA75FA-F681-4B5D-93C7-49F3DDA1D8E1}"/>
          </ac:spMkLst>
        </pc:spChg>
        <pc:spChg chg="add">
          <ac:chgData name="Sangeeta Chatterjee" userId="66e5ecfe158147c5" providerId="LiveId" clId="{C4ADBB92-6B11-4F9A-9E88-862A3E7FC29E}" dt="2020-05-12T10:27:51.409" v="1757" actId="26606"/>
          <ac:spMkLst>
            <pc:docMk/>
            <pc:sldMk cId="2772842547" sldId="263"/>
            <ac:spMk id="17" creationId="{A69E3989-C462-49A6-86A8-355B60134A11}"/>
          </ac:spMkLst>
        </pc:spChg>
        <pc:spChg chg="add">
          <ac:chgData name="Sangeeta Chatterjee" userId="66e5ecfe158147c5" providerId="LiveId" clId="{C4ADBB92-6B11-4F9A-9E88-862A3E7FC29E}" dt="2020-05-12T10:27:51.409" v="1757" actId="26606"/>
          <ac:spMkLst>
            <pc:docMk/>
            <pc:sldMk cId="2772842547" sldId="263"/>
            <ac:spMk id="19" creationId="{8FE4B8E1-4108-4F3B-AA31-922474DCDBEF}"/>
          </ac:spMkLst>
        </pc:spChg>
        <pc:picChg chg="add">
          <ac:chgData name="Sangeeta Chatterjee" userId="66e5ecfe158147c5" providerId="LiveId" clId="{C4ADBB92-6B11-4F9A-9E88-862A3E7FC29E}" dt="2020-05-12T10:27:51.409" v="1757" actId="26606"/>
          <ac:picMkLst>
            <pc:docMk/>
            <pc:sldMk cId="2772842547" sldId="263"/>
            <ac:picMk id="5" creationId="{F2216725-3FD8-4187-A7A2-B1C19A4CFA09}"/>
          </ac:picMkLst>
        </pc:picChg>
        <pc:cxnChg chg="add">
          <ac:chgData name="Sangeeta Chatterjee" userId="66e5ecfe158147c5" providerId="LiveId" clId="{C4ADBB92-6B11-4F9A-9E88-862A3E7FC29E}" dt="2020-05-12T10:27:51.409" v="1757" actId="26606"/>
          <ac:cxnSpMkLst>
            <pc:docMk/>
            <pc:sldMk cId="2772842547" sldId="263"/>
            <ac:cxnSpMk id="13" creationId="{834E074C-27C4-4E38-B099-012123B754E5}"/>
          </ac:cxnSpMkLst>
        </pc:cxnChg>
        <pc:cxnChg chg="add">
          <ac:chgData name="Sangeeta Chatterjee" userId="66e5ecfe158147c5" providerId="LiveId" clId="{C4ADBB92-6B11-4F9A-9E88-862A3E7FC29E}" dt="2020-05-12T10:27:51.409" v="1757" actId="26606"/>
          <ac:cxnSpMkLst>
            <pc:docMk/>
            <pc:sldMk cId="2772842547" sldId="263"/>
            <ac:cxnSpMk id="15" creationId="{CBA20C44-5AE4-4DC9-A91C-643BC9C1EDF3}"/>
          </ac:cxnSpMkLst>
        </pc:cxnChg>
      </pc:sldChg>
      <pc:sldChg chg="delSp modSp add del mod">
        <pc:chgData name="Sangeeta Chatterjee" userId="66e5ecfe158147c5" providerId="LiveId" clId="{C4ADBB92-6B11-4F9A-9E88-862A3E7FC29E}" dt="2020-05-12T10:13:40.564" v="853" actId="47"/>
        <pc:sldMkLst>
          <pc:docMk/>
          <pc:sldMk cId="95992585" sldId="265"/>
        </pc:sldMkLst>
        <pc:picChg chg="del mod">
          <ac:chgData name="Sangeeta Chatterjee" userId="66e5ecfe158147c5" providerId="LiveId" clId="{C4ADBB92-6B11-4F9A-9E88-862A3E7FC29E}" dt="2020-05-12T10:07:41.758" v="601" actId="21"/>
          <ac:picMkLst>
            <pc:docMk/>
            <pc:sldMk cId="95992585" sldId="265"/>
            <ac:picMk id="10" creationId="{49F2A7A0-F6A7-4B16-ACEB-C3B9066FA6EE}"/>
          </ac:picMkLst>
        </pc:picChg>
      </pc:sldChg>
    </pc:docChg>
  </pc:docChgLst>
  <pc:docChgLst>
    <pc:chgData name="Sangeeta Chatterjee" userId="66e5ecfe158147c5" providerId="LiveId" clId="{2DC8CB70-88F4-45BA-B7EC-1A33A2537059}"/>
    <pc:docChg chg="addSld modSld">
      <pc:chgData name="Sangeeta Chatterjee" userId="66e5ecfe158147c5" providerId="LiveId" clId="{2DC8CB70-88F4-45BA-B7EC-1A33A2537059}" dt="2020-06-09T15:49:47.037" v="39" actId="6549"/>
      <pc:docMkLst>
        <pc:docMk/>
      </pc:docMkLst>
      <pc:sldChg chg="modSp mod">
        <pc:chgData name="Sangeeta Chatterjee" userId="66e5ecfe158147c5" providerId="LiveId" clId="{2DC8CB70-88F4-45BA-B7EC-1A33A2537059}" dt="2020-06-09T15:49:47.037" v="39" actId="6549"/>
        <pc:sldMkLst>
          <pc:docMk/>
          <pc:sldMk cId="498015582" sldId="256"/>
        </pc:sldMkLst>
        <pc:spChg chg="mod">
          <ac:chgData name="Sangeeta Chatterjee" userId="66e5ecfe158147c5" providerId="LiveId" clId="{2DC8CB70-88F4-45BA-B7EC-1A33A2537059}" dt="2020-06-09T15:49:35.239" v="38" actId="20577"/>
          <ac:spMkLst>
            <pc:docMk/>
            <pc:sldMk cId="498015582" sldId="256"/>
            <ac:spMk id="2" creationId="{2F5669BF-0566-420F-91F7-88C312740194}"/>
          </ac:spMkLst>
        </pc:spChg>
        <pc:spChg chg="mod">
          <ac:chgData name="Sangeeta Chatterjee" userId="66e5ecfe158147c5" providerId="LiveId" clId="{2DC8CB70-88F4-45BA-B7EC-1A33A2537059}" dt="2020-06-09T15:49:47.037" v="39" actId="6549"/>
          <ac:spMkLst>
            <pc:docMk/>
            <pc:sldMk cId="498015582" sldId="256"/>
            <ac:spMk id="3" creationId="{1740717D-763B-4CD5-A9F4-0DD2055E976F}"/>
          </ac:spMkLst>
        </pc:spChg>
      </pc:sldChg>
      <pc:sldChg chg="add">
        <pc:chgData name="Sangeeta Chatterjee" userId="66e5ecfe158147c5" providerId="LiveId" clId="{2DC8CB70-88F4-45BA-B7EC-1A33A2537059}" dt="2020-06-09T15:48:13.733" v="0"/>
        <pc:sldMkLst>
          <pc:docMk/>
          <pc:sldMk cId="1585968413" sldId="26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34C77B-3B79-4937-AD82-386B64F4D4DE}" type="datetimeFigureOut">
              <a:rPr lang="en-US" smtClean="0"/>
              <a:t>6/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68CCB5-DE50-4C91-A0B8-A2F4C58FC637}" type="slidenum">
              <a:rPr lang="en-US" smtClean="0"/>
              <a:t>‹#›</a:t>
            </a:fld>
            <a:endParaRPr lang="en-US"/>
          </a:p>
        </p:txBody>
      </p:sp>
    </p:spTree>
    <p:extLst>
      <p:ext uri="{BB962C8B-B14F-4D97-AF65-F5344CB8AC3E}">
        <p14:creationId xmlns:p14="http://schemas.microsoft.com/office/powerpoint/2010/main" val="3601356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2AC24A9-CCB6-4F8D-B8DB-C2F3692CFA5A}" type="datetimeFigureOut">
              <a:rPr lang="en-US" smtClean="0"/>
              <a:t>6/9/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DC25EE-239B-4C5F-AAD1-255A7D5F1EE2}"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252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AC24A9-CCB6-4F8D-B8DB-C2F3692CFA5A}" type="datetimeFigureOut">
              <a:rPr lang="en-US" smtClean="0"/>
              <a:t>6/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974149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AC24A9-CCB6-4F8D-B8DB-C2F3692CFA5A}" type="datetimeFigureOut">
              <a:rPr lang="en-US" smtClean="0"/>
              <a:t>6/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5666601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
        <p:cNvGrpSpPr/>
        <p:nvPr/>
      </p:nvGrpSpPr>
      <p:grpSpPr>
        <a:xfrm>
          <a:off x="0" y="0"/>
          <a:ext cx="0" cy="0"/>
          <a:chOff x="0" y="0"/>
          <a:chExt cx="0" cy="0"/>
        </a:xfrm>
      </p:grpSpPr>
      <p:sp>
        <p:nvSpPr>
          <p:cNvPr id="22" name="Google Shape;22;p11"/>
          <p:cNvSpPr txBox="1">
            <a:spLocks noGrp="1"/>
          </p:cNvSpPr>
          <p:nvPr>
            <p:ph type="title"/>
          </p:nvPr>
        </p:nvSpPr>
        <p:spPr>
          <a:xfrm>
            <a:off x="233259" y="234863"/>
            <a:ext cx="11725485" cy="67710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25419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AC24A9-CCB6-4F8D-B8DB-C2F3692CFA5A}" type="datetimeFigureOut">
              <a:rPr lang="en-US" smtClean="0"/>
              <a:t>6/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421842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2AC24A9-CCB6-4F8D-B8DB-C2F3692CFA5A}" type="datetimeFigureOut">
              <a:rPr lang="en-US" smtClean="0"/>
              <a:t>6/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DC25EE-239B-4C5F-AAD1-255A7D5F1EE2}"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8803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2AC24A9-CCB6-4F8D-B8DB-C2F3692CFA5A}" type="datetimeFigureOut">
              <a:rPr lang="en-US" smtClean="0"/>
              <a:t>6/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2795380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2AC24A9-CCB6-4F8D-B8DB-C2F3692CFA5A}" type="datetimeFigureOut">
              <a:rPr lang="en-US" smtClean="0"/>
              <a:t>6/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1879939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2AC24A9-CCB6-4F8D-B8DB-C2F3692CFA5A}" type="datetimeFigureOut">
              <a:rPr lang="en-US" smtClean="0"/>
              <a:t>6/9/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228130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2AC24A9-CCB6-4F8D-B8DB-C2F3692CFA5A}" type="datetimeFigureOut">
              <a:rPr lang="en-US" smtClean="0"/>
              <a:t>6/9/2020</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390122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02AC24A9-CCB6-4F8D-B8DB-C2F3692CFA5A}" type="datetimeFigureOut">
              <a:rPr lang="en-US" smtClean="0"/>
              <a:t>6/9/2020</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B2DC25EE-239B-4C5F-AAD1-255A7D5F1EE2}" type="slidenum">
              <a:rPr lang="en-US" smtClean="0"/>
              <a:t>‹#›</a:t>
            </a:fld>
            <a:endParaRPr lang="en-US"/>
          </a:p>
        </p:txBody>
      </p:sp>
    </p:spTree>
    <p:extLst>
      <p:ext uri="{BB962C8B-B14F-4D97-AF65-F5344CB8AC3E}">
        <p14:creationId xmlns:p14="http://schemas.microsoft.com/office/powerpoint/2010/main" val="614919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2AC24A9-CCB6-4F8D-B8DB-C2F3692CFA5A}" type="datetimeFigureOut">
              <a:rPr lang="en-US" smtClean="0"/>
              <a:t>6/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818038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02AC24A9-CCB6-4F8D-B8DB-C2F3692CFA5A}" type="datetimeFigureOut">
              <a:rPr lang="en-US" smtClean="0"/>
              <a:t>6/9/2020</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B2DC25EE-239B-4C5F-AAD1-255A7D5F1EE2}"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186755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hyperlink" Target="https://www.kaggle.com/dileep070/heart-disease-prediction-using-logistic-regression" TargetMode="External"/><Relationship Id="rId5" Type="http://schemas.openxmlformats.org/officeDocument/2006/relationships/image" Target="../media/image2.png"/><Relationship Id="rId4" Type="http://schemas.openxmlformats.org/officeDocument/2006/relationships/oleObject" Target="../embeddings/oleObject1.bin"/><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hyperlink" Target="https://www.kaggle.com/dileep070/heart-disease-prediction-using-logistic-regression" TargetMode="Externa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 Id="rId4" Type="http://schemas.openxmlformats.org/officeDocument/2006/relationships/hyperlink" Target="https://www.kaggle.com/dileep070/heart-disease-prediction-using-logistic-regression"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kaggle.com/dileep070/heart-disease-prediction-using-logistic-regression" TargetMode="External"/><Relationship Id="rId2" Type="http://schemas.openxmlformats.org/officeDocument/2006/relationships/image" Target="../media/image11.png"/><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818448-CAB1-4276-BFDC-B8C4FCE76888}"/>
              </a:ext>
            </a:extLst>
          </p:cNvPr>
          <p:cNvPicPr>
            <a:picLocks noChangeAspect="1"/>
          </p:cNvPicPr>
          <p:nvPr/>
        </p:nvPicPr>
        <p:blipFill rotWithShape="1">
          <a:blip r:embed="rId2"/>
          <a:srcRect b="15730"/>
          <a:stretch/>
        </p:blipFill>
        <p:spPr>
          <a:xfrm>
            <a:off x="-3047" y="10"/>
            <a:ext cx="12191999" cy="6857990"/>
          </a:xfrm>
          <a:prstGeom prst="rect">
            <a:avLst/>
          </a:prstGeom>
        </p:spPr>
      </p:pic>
      <p:sp>
        <p:nvSpPr>
          <p:cNvPr id="2" name="Title 1">
            <a:extLst>
              <a:ext uri="{FF2B5EF4-FFF2-40B4-BE49-F238E27FC236}">
                <a16:creationId xmlns:a16="http://schemas.microsoft.com/office/drawing/2014/main" id="{2F5669BF-0566-420F-91F7-88C312740194}"/>
              </a:ext>
            </a:extLst>
          </p:cNvPr>
          <p:cNvSpPr>
            <a:spLocks noGrp="1"/>
          </p:cNvSpPr>
          <p:nvPr>
            <p:ph type="ctrTitle"/>
          </p:nvPr>
        </p:nvSpPr>
        <p:spPr>
          <a:xfrm>
            <a:off x="643466" y="1060981"/>
            <a:ext cx="10905059" cy="2075217"/>
          </a:xfrm>
          <a:effectLst>
            <a:outerShdw blurRad="50800" dist="38100" dir="2700000" algn="tl" rotWithShape="0">
              <a:prstClr val="black">
                <a:alpha val="40000"/>
              </a:prstClr>
            </a:outerShdw>
          </a:effectLst>
        </p:spPr>
        <p:txBody>
          <a:bodyPr>
            <a:normAutofit/>
          </a:bodyPr>
          <a:lstStyle/>
          <a:p>
            <a:pPr algn="ctr"/>
            <a:r>
              <a:rPr lang="en-US" sz="3600" dirty="0">
                <a:solidFill>
                  <a:srgbClr val="002060"/>
                </a:solidFill>
                <a:latin typeface="Copperplate Gothic Bold" panose="020E0705020206020404" pitchFamily="34" charset="0"/>
                <a:cs typeface="Cordia New" panose="020B0502040204020203" pitchFamily="34" charset="-34"/>
              </a:rPr>
              <a:t>Capstone </a:t>
            </a:r>
            <a:r>
              <a:rPr lang="en-US" sz="3200" dirty="0">
                <a:solidFill>
                  <a:srgbClr val="002060"/>
                </a:solidFill>
                <a:latin typeface="Copperplate Gothic Bold" panose="020E0705020206020404" pitchFamily="34" charset="0"/>
                <a:cs typeface="Cordia New" panose="020B0502040204020203" pitchFamily="34" charset="-34"/>
              </a:rPr>
              <a:t>TWO</a:t>
            </a:r>
            <a:r>
              <a:rPr lang="en-US" sz="3600" dirty="0">
                <a:solidFill>
                  <a:srgbClr val="002060"/>
                </a:solidFill>
                <a:latin typeface="Copperplate Gothic Bold" panose="020E0705020206020404" pitchFamily="34" charset="0"/>
                <a:cs typeface="Cordia New" panose="020B0502040204020203" pitchFamily="34" charset="-34"/>
              </a:rPr>
              <a:t> – final presentation</a:t>
            </a:r>
            <a:br>
              <a:rPr lang="en-US" sz="3600" dirty="0">
                <a:solidFill>
                  <a:srgbClr val="002060"/>
                </a:solidFill>
                <a:latin typeface="Copperplate Gothic Bold" panose="020E0705020206020404" pitchFamily="34" charset="0"/>
                <a:cs typeface="Cordia New" panose="020B0502040204020203" pitchFamily="34" charset="-34"/>
              </a:rPr>
            </a:br>
            <a:r>
              <a:rPr lang="en-US" sz="1600" dirty="0">
                <a:solidFill>
                  <a:srgbClr val="002060"/>
                </a:solidFill>
                <a:latin typeface="Copperplate Gothic Bold" panose="020E0705020206020404" pitchFamily="34" charset="0"/>
                <a:cs typeface="Cordia New" panose="020B0502040204020203" pitchFamily="34" charset="-34"/>
              </a:rPr>
              <a:t>(Effect of COVID19 on stock market)</a:t>
            </a:r>
          </a:p>
        </p:txBody>
      </p:sp>
      <p:sp>
        <p:nvSpPr>
          <p:cNvPr id="3" name="Subtitle 2">
            <a:extLst>
              <a:ext uri="{FF2B5EF4-FFF2-40B4-BE49-F238E27FC236}">
                <a16:creationId xmlns:a16="http://schemas.microsoft.com/office/drawing/2014/main" id="{1740717D-763B-4CD5-A9F4-0DD2055E976F}"/>
              </a:ext>
            </a:extLst>
          </p:cNvPr>
          <p:cNvSpPr>
            <a:spLocks noGrp="1"/>
          </p:cNvSpPr>
          <p:nvPr>
            <p:ph type="subTitle" idx="1"/>
          </p:nvPr>
        </p:nvSpPr>
        <p:spPr>
          <a:xfrm>
            <a:off x="643466" y="4781405"/>
            <a:ext cx="10902016" cy="806239"/>
          </a:xfrm>
          <a:effectLst>
            <a:outerShdw blurRad="50800" dist="38100" dir="2700000" algn="tl" rotWithShape="0">
              <a:prstClr val="black">
                <a:alpha val="40000"/>
              </a:prstClr>
            </a:outerShdw>
          </a:effectLst>
        </p:spPr>
        <p:txBody>
          <a:bodyPr>
            <a:normAutofit/>
          </a:bodyPr>
          <a:lstStyle/>
          <a:p>
            <a:r>
              <a:rPr lang="en-US" sz="1800" dirty="0">
                <a:solidFill>
                  <a:srgbClr val="002060"/>
                </a:solidFill>
                <a:latin typeface="Copperplate Gothic Light" panose="020E0507020206020404" pitchFamily="34" charset="0"/>
              </a:rPr>
              <a:t>Presented By – Sangeeta Chatterjee</a:t>
            </a:r>
          </a:p>
        </p:txBody>
      </p:sp>
    </p:spTree>
    <p:extLst>
      <p:ext uri="{BB962C8B-B14F-4D97-AF65-F5344CB8AC3E}">
        <p14:creationId xmlns:p14="http://schemas.microsoft.com/office/powerpoint/2010/main" val="498015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818448-CAB1-4276-BFDC-B8C4FCE76888}"/>
              </a:ext>
            </a:extLst>
          </p:cNvPr>
          <p:cNvPicPr>
            <a:picLocks noChangeAspect="1"/>
          </p:cNvPicPr>
          <p:nvPr/>
        </p:nvPicPr>
        <p:blipFill rotWithShape="1">
          <a:blip r:embed="rId2"/>
          <a:srcRect b="15730"/>
          <a:stretch/>
        </p:blipFill>
        <p:spPr>
          <a:xfrm>
            <a:off x="-3047" y="10"/>
            <a:ext cx="12191999" cy="6857990"/>
          </a:xfrm>
          <a:prstGeom prst="rect">
            <a:avLst/>
          </a:prstGeom>
        </p:spPr>
      </p:pic>
      <p:sp>
        <p:nvSpPr>
          <p:cNvPr id="2" name="Title 1">
            <a:extLst>
              <a:ext uri="{FF2B5EF4-FFF2-40B4-BE49-F238E27FC236}">
                <a16:creationId xmlns:a16="http://schemas.microsoft.com/office/drawing/2014/main" id="{2F5669BF-0566-420F-91F7-88C312740194}"/>
              </a:ext>
            </a:extLst>
          </p:cNvPr>
          <p:cNvSpPr>
            <a:spLocks noGrp="1"/>
          </p:cNvSpPr>
          <p:nvPr>
            <p:ph type="ctrTitle"/>
          </p:nvPr>
        </p:nvSpPr>
        <p:spPr>
          <a:xfrm>
            <a:off x="643466" y="1060981"/>
            <a:ext cx="10905059" cy="2075217"/>
          </a:xfrm>
          <a:effectLst>
            <a:outerShdw blurRad="50800" dist="38100" dir="2700000" algn="tl" rotWithShape="0">
              <a:prstClr val="black">
                <a:alpha val="40000"/>
              </a:prstClr>
            </a:outerShdw>
          </a:effectLst>
        </p:spPr>
        <p:txBody>
          <a:bodyPr>
            <a:normAutofit/>
          </a:bodyPr>
          <a:lstStyle/>
          <a:p>
            <a:pPr algn="ctr"/>
            <a:r>
              <a:rPr lang="en-US" sz="3600" dirty="0">
                <a:solidFill>
                  <a:srgbClr val="002060"/>
                </a:solidFill>
                <a:latin typeface="Copperplate Gothic Bold" panose="020E0705020206020404" pitchFamily="34" charset="0"/>
                <a:cs typeface="Cordia New" panose="020B0502040204020203" pitchFamily="34" charset="-34"/>
              </a:rPr>
              <a:t>Capstone one – final presentation</a:t>
            </a:r>
            <a:br>
              <a:rPr lang="en-US" sz="3600" dirty="0">
                <a:solidFill>
                  <a:srgbClr val="002060"/>
                </a:solidFill>
                <a:latin typeface="Copperplate Gothic Bold" panose="020E0705020206020404" pitchFamily="34" charset="0"/>
                <a:cs typeface="Cordia New" panose="020B0502040204020203" pitchFamily="34" charset="-34"/>
              </a:rPr>
            </a:br>
            <a:r>
              <a:rPr lang="en-US" sz="1600" dirty="0">
                <a:solidFill>
                  <a:srgbClr val="002060"/>
                </a:solidFill>
                <a:latin typeface="Copperplate Gothic Bold" panose="020E0705020206020404" pitchFamily="34" charset="0"/>
                <a:cs typeface="Cordia New" panose="020B0502040204020203" pitchFamily="34" charset="-34"/>
              </a:rPr>
              <a:t>(Prognosis of Chronical Heart Diseases)</a:t>
            </a:r>
          </a:p>
        </p:txBody>
      </p:sp>
      <p:sp>
        <p:nvSpPr>
          <p:cNvPr id="3" name="Subtitle 2">
            <a:extLst>
              <a:ext uri="{FF2B5EF4-FFF2-40B4-BE49-F238E27FC236}">
                <a16:creationId xmlns:a16="http://schemas.microsoft.com/office/drawing/2014/main" id="{1740717D-763B-4CD5-A9F4-0DD2055E976F}"/>
              </a:ext>
            </a:extLst>
          </p:cNvPr>
          <p:cNvSpPr>
            <a:spLocks noGrp="1"/>
          </p:cNvSpPr>
          <p:nvPr>
            <p:ph type="subTitle" idx="1"/>
          </p:nvPr>
        </p:nvSpPr>
        <p:spPr>
          <a:xfrm>
            <a:off x="643466" y="4781405"/>
            <a:ext cx="10902016" cy="806239"/>
          </a:xfrm>
          <a:effectLst>
            <a:outerShdw blurRad="50800" dist="38100" dir="2700000" algn="tl" rotWithShape="0">
              <a:prstClr val="black">
                <a:alpha val="40000"/>
              </a:prstClr>
            </a:outerShdw>
          </a:effectLst>
        </p:spPr>
        <p:txBody>
          <a:bodyPr>
            <a:normAutofit/>
          </a:bodyPr>
          <a:lstStyle/>
          <a:p>
            <a:r>
              <a:rPr lang="en-US" sz="1800" dirty="0">
                <a:solidFill>
                  <a:srgbClr val="002060"/>
                </a:solidFill>
                <a:latin typeface="Copperplate Gothic Light" panose="020E0507020206020404" pitchFamily="34" charset="0"/>
              </a:rPr>
              <a:t>Presented By – Sangeeta Chatterjee</a:t>
            </a:r>
          </a:p>
          <a:p>
            <a:r>
              <a:rPr lang="en-US" sz="1800" dirty="0">
                <a:solidFill>
                  <a:srgbClr val="002060"/>
                </a:solidFill>
                <a:latin typeface="Copperplate Gothic Light" panose="020E0507020206020404" pitchFamily="34" charset="0"/>
              </a:rPr>
              <a:t>Date – May – 17</a:t>
            </a:r>
            <a:r>
              <a:rPr lang="en-US" sz="1800" baseline="30000" dirty="0">
                <a:solidFill>
                  <a:srgbClr val="002060"/>
                </a:solidFill>
                <a:latin typeface="Copperplate Gothic Light" panose="020E0507020206020404" pitchFamily="34" charset="0"/>
              </a:rPr>
              <a:t>Th</a:t>
            </a:r>
            <a:r>
              <a:rPr lang="en-US" sz="1800" dirty="0">
                <a:solidFill>
                  <a:srgbClr val="002060"/>
                </a:solidFill>
                <a:latin typeface="Copperplate Gothic Light" panose="020E0507020206020404" pitchFamily="34" charset="0"/>
              </a:rPr>
              <a:t> , 2020</a:t>
            </a:r>
          </a:p>
        </p:txBody>
      </p:sp>
    </p:spTree>
    <p:extLst>
      <p:ext uri="{BB962C8B-B14F-4D97-AF65-F5344CB8AC3E}">
        <p14:creationId xmlns:p14="http://schemas.microsoft.com/office/powerpoint/2010/main" val="1585968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50" name="Google Shape;50;p2"/>
          <p:cNvGraphicFramePr/>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026" r:id="rId4" imgW="1587" imgH="1587" progId="TCLayout.ActiveDocument.1">
                  <p:embed/>
                </p:oleObj>
              </mc:Choice>
              <mc:Fallback>
                <p:oleObj r:id="rId4" imgW="1587" imgH="1587" progId="TCLayout.ActiveDocument.1">
                  <p:embed/>
                  <p:pic>
                    <p:nvPicPr>
                      <p:cNvPr id="50" name="Google Shape;50;p2"/>
                      <p:cNvPicPr preferRelativeResize="0"/>
                      <p:nvPr/>
                    </p:nvPicPr>
                    <p:blipFill rotWithShape="1">
                      <a:blip r:embed="rId5">
                        <a:alphaModFix/>
                      </a:blip>
                      <a:srcRect/>
                      <a:stretch/>
                    </p:blipFill>
                    <p:spPr>
                      <a:xfrm>
                        <a:off x="1525891" y="1621"/>
                        <a:ext cx="1619" cy="1619"/>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90084" y="127949"/>
            <a:ext cx="11544054" cy="1107996"/>
          </a:xfrm>
          <a:prstGeom prst="rect">
            <a:avLst/>
          </a:prstGeom>
          <a:noFill/>
          <a:ln>
            <a:noFill/>
          </a:ln>
        </p:spPr>
        <p:txBody>
          <a:bodyPr spcFirstLastPara="1" vert="horz" wrap="square" lIns="0" tIns="0" rIns="0" bIns="0" rtlCol="0" anchor="t" anchorCtr="0">
            <a:spAutoFit/>
          </a:bodyPr>
          <a:lstStyle/>
          <a:p>
            <a:pPr lvl="0"/>
            <a:r>
              <a:rPr lang="en-US" sz="1800" b="1" dirty="0">
                <a:latin typeface="Batang" panose="02030600000101010101" pitchFamily="18" charset="-127"/>
                <a:ea typeface="Batang" panose="02030600000101010101" pitchFamily="18" charset="-127"/>
              </a:rPr>
              <a:t>One of the leading reasons for death in US is Coronary or heart disease. Early prognosis of the disease by studying various factors like medical, demographic and behavioral in existing patients is done here, to find a possible trend that could help high risk patients in making appropriate changes in current lifestyle to avoid future occurrence of this disease .</a:t>
            </a:r>
            <a:endParaRPr sz="1800" b="1" dirty="0">
              <a:latin typeface="Batang" panose="02030600000101010101" pitchFamily="18" charset="-127"/>
              <a:ea typeface="Batang" panose="02030600000101010101" pitchFamily="18" charset="-127"/>
            </a:endParaRPr>
          </a:p>
        </p:txBody>
      </p:sp>
      <p:sp>
        <p:nvSpPr>
          <p:cNvPr id="56" name="Google Shape;56;p2"/>
          <p:cNvSpPr/>
          <p:nvPr/>
        </p:nvSpPr>
        <p:spPr>
          <a:xfrm>
            <a:off x="-21237" y="6229219"/>
            <a:ext cx="7875747" cy="371166"/>
          </a:xfrm>
          <a:prstGeom prst="rect">
            <a:avLst/>
          </a:prstGeom>
          <a:noFill/>
          <a:ln>
            <a:noFill/>
          </a:ln>
        </p:spPr>
        <p:txBody>
          <a:bodyPr spcFirstLastPara="1" wrap="square" lIns="93282" tIns="46628" rIns="93282" bIns="46628" anchor="t" anchorCtr="0">
            <a:spAutoFit/>
          </a:bodyPr>
          <a:lstStyle/>
          <a:p>
            <a:pPr lvl="0">
              <a:buSzPts val="800"/>
            </a:pPr>
            <a:r>
              <a:rPr lang="en-US" sz="900" dirty="0">
                <a:solidFill>
                  <a:schemeClr val="dk1"/>
                </a:solidFill>
                <a:latin typeface="Book Antiqua" panose="02040602050305030304" pitchFamily="18" charset="0"/>
                <a:ea typeface="Arial"/>
                <a:cs typeface="Arial"/>
                <a:sym typeface="Arial"/>
              </a:rPr>
              <a:t>Note: ¹ Data is collected from ongoing </a:t>
            </a:r>
            <a:r>
              <a:rPr lang="en-US" sz="900" dirty="0">
                <a:latin typeface="Book Antiqua" panose="02040602050305030304" pitchFamily="18" charset="0"/>
              </a:rPr>
              <a:t> cardiovascular study on residents of the town of Framingham, Massachusetts.</a:t>
            </a:r>
            <a:endParaRPr lang="en-US" sz="900" dirty="0">
              <a:solidFill>
                <a:schemeClr val="dk1"/>
              </a:solidFill>
              <a:latin typeface="Book Antiqua" panose="02040602050305030304" pitchFamily="18" charset="0"/>
              <a:ea typeface="Arial"/>
              <a:cs typeface="Arial"/>
              <a:sym typeface="Arial"/>
            </a:endParaRPr>
          </a:p>
          <a:p>
            <a:pPr lvl="0">
              <a:buSzPts val="800"/>
            </a:pPr>
            <a:r>
              <a:rPr lang="en-US" sz="900" dirty="0">
                <a:solidFill>
                  <a:schemeClr val="dk1"/>
                </a:solidFill>
                <a:latin typeface="Book Antiqua" panose="02040602050305030304" pitchFamily="18" charset="0"/>
                <a:ea typeface="Arial"/>
                <a:cs typeface="Arial"/>
                <a:sym typeface="Arial"/>
              </a:rPr>
              <a:t>Note: </a:t>
            </a:r>
            <a:r>
              <a:rPr lang="en-US" sz="900" b="1" dirty="0">
                <a:solidFill>
                  <a:schemeClr val="dk1"/>
                </a:solidFill>
                <a:latin typeface="Book Antiqua" panose="02040602050305030304" pitchFamily="18" charset="0"/>
                <a:ea typeface="Arial"/>
                <a:cs typeface="Arial"/>
                <a:sym typeface="Arial"/>
              </a:rPr>
              <a:t>²</a:t>
            </a:r>
            <a:r>
              <a:rPr lang="en-US" sz="900" dirty="0">
                <a:solidFill>
                  <a:schemeClr val="dk1"/>
                </a:solidFill>
                <a:latin typeface="Book Antiqua" panose="02040602050305030304" pitchFamily="18" charset="0"/>
                <a:ea typeface="Arial"/>
                <a:cs typeface="Arial"/>
                <a:sym typeface="Arial"/>
              </a:rPr>
              <a:t> </a:t>
            </a:r>
            <a:r>
              <a:rPr lang="en-US" sz="900" dirty="0">
                <a:latin typeface="Book Antiqua" panose="02040602050305030304" pitchFamily="18" charset="0"/>
              </a:rPr>
              <a:t>It includes over 4,000 records and 15 attributes.</a:t>
            </a:r>
            <a:endParaRPr sz="900" dirty="0">
              <a:solidFill>
                <a:srgbClr val="000000"/>
              </a:solidFill>
              <a:latin typeface="Book Antiqua" panose="02040602050305030304" pitchFamily="18" charset="0"/>
              <a:ea typeface="Arial"/>
              <a:cs typeface="Arial"/>
              <a:sym typeface="Arial"/>
            </a:endParaRPr>
          </a:p>
        </p:txBody>
      </p:sp>
      <p:sp>
        <p:nvSpPr>
          <p:cNvPr id="57" name="Google Shape;57;p2"/>
          <p:cNvSpPr/>
          <p:nvPr/>
        </p:nvSpPr>
        <p:spPr>
          <a:xfrm>
            <a:off x="-27915" y="6547383"/>
            <a:ext cx="7035992" cy="371166"/>
          </a:xfrm>
          <a:prstGeom prst="rect">
            <a:avLst/>
          </a:prstGeom>
          <a:noFill/>
          <a:ln>
            <a:noFill/>
          </a:ln>
        </p:spPr>
        <p:txBody>
          <a:bodyPr spcFirstLastPara="1" wrap="square" lIns="93282" tIns="46628" rIns="93282" bIns="46628" anchor="t" anchorCtr="0">
            <a:spAutoFit/>
          </a:bodyPr>
          <a:lstStyle/>
          <a:p>
            <a:pPr>
              <a:buSzPts val="800"/>
            </a:pPr>
            <a:r>
              <a:rPr lang="en-US" sz="900" b="1" dirty="0">
                <a:solidFill>
                  <a:schemeClr val="dk1"/>
                </a:solidFill>
                <a:latin typeface="Book Antiqua" panose="02040602050305030304" pitchFamily="18" charset="0"/>
                <a:ea typeface="Arial"/>
                <a:cs typeface="Arial"/>
                <a:sym typeface="Arial"/>
              </a:rPr>
              <a:t>Source: </a:t>
            </a:r>
            <a:r>
              <a:rPr lang="en-US" sz="900" b="1" dirty="0">
                <a:latin typeface="Book Antiqua" panose="02040602050305030304" pitchFamily="18" charset="0"/>
                <a:ea typeface="Batang" panose="02030600000101010101" pitchFamily="18" charset="-127"/>
                <a:cs typeface="Cavolini" panose="020B0502040204020203" pitchFamily="66" charset="0"/>
                <a:hlinkClick r:id="rId6">
                  <a:extLst>
                    <a:ext uri="{A12FA001-AC4F-418D-AE19-62706E023703}">
                      <ahyp:hlinkClr xmlns:ahyp="http://schemas.microsoft.com/office/drawing/2018/hyperlinkcolor" val="tx"/>
                    </a:ext>
                  </a:extLst>
                </a:hlinkClick>
              </a:rPr>
              <a:t>https://www.kaggle.com/dileep070/heart-disease-prediction-using-logistic-regression</a:t>
            </a:r>
            <a:endParaRPr lang="en-US" sz="900" b="1" dirty="0">
              <a:latin typeface="Book Antiqua" panose="02040602050305030304" pitchFamily="18" charset="0"/>
              <a:ea typeface="Batang" panose="02030600000101010101" pitchFamily="18" charset="-127"/>
              <a:cs typeface="Cavolini" panose="020B0502040204020203" pitchFamily="66" charset="0"/>
            </a:endParaRPr>
          </a:p>
          <a:p>
            <a:pPr>
              <a:buSzPts val="800"/>
            </a:pPr>
            <a:endParaRPr sz="900" dirty="0">
              <a:solidFill>
                <a:srgbClr val="000000"/>
              </a:solidFill>
              <a:latin typeface="Book Antiqua" panose="02040602050305030304" pitchFamily="18" charset="0"/>
              <a:ea typeface="Arial"/>
              <a:cs typeface="Arial"/>
              <a:sym typeface="Arial"/>
            </a:endParaRPr>
          </a:p>
        </p:txBody>
      </p:sp>
      <p:pic>
        <p:nvPicPr>
          <p:cNvPr id="22" name="slide2" descr="Gender_CHD">
            <a:extLst>
              <a:ext uri="{FF2B5EF4-FFF2-40B4-BE49-F238E27FC236}">
                <a16:creationId xmlns:a16="http://schemas.microsoft.com/office/drawing/2014/main" id="{0E6D4D50-01D4-439F-BE1A-854D58F477A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2035" y="1126763"/>
            <a:ext cx="3799669" cy="3312614"/>
          </a:xfrm>
          <a:prstGeom prst="rect">
            <a:avLst/>
          </a:prstGeom>
        </p:spPr>
      </p:pic>
      <p:pic>
        <p:nvPicPr>
          <p:cNvPr id="26" name="slide3" descr="Gender_Age">
            <a:extLst>
              <a:ext uri="{FF2B5EF4-FFF2-40B4-BE49-F238E27FC236}">
                <a16:creationId xmlns:a16="http://schemas.microsoft.com/office/drawing/2014/main" id="{2ACEF2D6-4DE6-4743-BA72-97C361ED453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8812" y="2338357"/>
            <a:ext cx="3734710" cy="2989412"/>
          </a:xfrm>
          <a:prstGeom prst="rect">
            <a:avLst/>
          </a:prstGeom>
        </p:spPr>
      </p:pic>
      <p:pic>
        <p:nvPicPr>
          <p:cNvPr id="28" name="slide13" descr="Sheet 12">
            <a:extLst>
              <a:ext uri="{FF2B5EF4-FFF2-40B4-BE49-F238E27FC236}">
                <a16:creationId xmlns:a16="http://schemas.microsoft.com/office/drawing/2014/main" id="{1D2D6B29-9468-4B18-B8F6-6DDE8EA26E2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9925" y="1416972"/>
            <a:ext cx="3359919" cy="3141068"/>
          </a:xfrm>
          <a:prstGeom prst="rect">
            <a:avLst/>
          </a:prstGeom>
        </p:spPr>
      </p:pic>
      <p:sp>
        <p:nvSpPr>
          <p:cNvPr id="29" name="Google Shape;64;p2">
            <a:extLst>
              <a:ext uri="{FF2B5EF4-FFF2-40B4-BE49-F238E27FC236}">
                <a16:creationId xmlns:a16="http://schemas.microsoft.com/office/drawing/2014/main" id="{BE1FD976-5FFA-4958-BC5E-E54A1160D18B}"/>
              </a:ext>
            </a:extLst>
          </p:cNvPr>
          <p:cNvSpPr txBox="1"/>
          <p:nvPr/>
        </p:nvSpPr>
        <p:spPr>
          <a:xfrm>
            <a:off x="258265" y="4509177"/>
            <a:ext cx="3148049" cy="554547"/>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000"/>
            </a:pPr>
            <a:r>
              <a:rPr lang="en-US" sz="1000" b="1" dirty="0">
                <a:solidFill>
                  <a:schemeClr val="dk1"/>
                </a:solidFill>
                <a:latin typeface="Book Antiqua" panose="02040602050305030304" pitchFamily="18" charset="0"/>
                <a:ea typeface="Arial"/>
                <a:cs typeface="Arial"/>
                <a:sym typeface="Arial"/>
              </a:rPr>
              <a:t>87.6 % never had a chronic heart disease and 12 % of the dataset had a history of heart disease.</a:t>
            </a:r>
            <a:endParaRPr sz="1400" b="0" i="0" u="none" strike="noStrike" cap="none" dirty="0">
              <a:solidFill>
                <a:srgbClr val="000000"/>
              </a:solidFill>
              <a:latin typeface="Book Antiqua" panose="02040602050305030304" pitchFamily="18" charset="0"/>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Book Antiqua" panose="02040602050305030304" pitchFamily="18" charset="0"/>
              <a:ea typeface="Arial"/>
              <a:cs typeface="Arial"/>
              <a:sym typeface="Arial"/>
            </a:endParaRPr>
          </a:p>
        </p:txBody>
      </p:sp>
      <p:sp>
        <p:nvSpPr>
          <p:cNvPr id="30" name="Google Shape;64;p2">
            <a:extLst>
              <a:ext uri="{FF2B5EF4-FFF2-40B4-BE49-F238E27FC236}">
                <a16:creationId xmlns:a16="http://schemas.microsoft.com/office/drawing/2014/main" id="{C4EB866B-1BFF-44BB-B307-16FBBDCB8276}"/>
              </a:ext>
            </a:extLst>
          </p:cNvPr>
          <p:cNvSpPr txBox="1"/>
          <p:nvPr/>
        </p:nvSpPr>
        <p:spPr>
          <a:xfrm>
            <a:off x="8382025" y="4494054"/>
            <a:ext cx="3148049" cy="553957"/>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000"/>
            </a:pPr>
            <a:r>
              <a:rPr lang="en-US" sz="1000" b="1" dirty="0">
                <a:solidFill>
                  <a:schemeClr val="dk1"/>
                </a:solidFill>
                <a:latin typeface="Book Antiqua" panose="02040602050305030304" pitchFamily="18" charset="0"/>
                <a:ea typeface="Arial"/>
                <a:cs typeface="Arial"/>
                <a:sym typeface="Arial"/>
              </a:rPr>
              <a:t>Men have a higher rate of CHD compared to women</a:t>
            </a:r>
            <a:endParaRPr sz="1400" b="0" i="0" u="none" strike="noStrike" cap="none" dirty="0">
              <a:solidFill>
                <a:srgbClr val="000000"/>
              </a:solidFill>
              <a:latin typeface="Book Antiqua" panose="02040602050305030304" pitchFamily="18" charset="0"/>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Book Antiqua" panose="02040602050305030304" pitchFamily="18" charset="0"/>
              <a:ea typeface="Arial"/>
              <a:cs typeface="Arial"/>
              <a:sym typeface="Arial"/>
            </a:endParaRPr>
          </a:p>
        </p:txBody>
      </p:sp>
      <p:sp>
        <p:nvSpPr>
          <p:cNvPr id="31" name="Google Shape;64;p2">
            <a:extLst>
              <a:ext uri="{FF2B5EF4-FFF2-40B4-BE49-F238E27FC236}">
                <a16:creationId xmlns:a16="http://schemas.microsoft.com/office/drawing/2014/main" id="{3CBD9788-66C4-4121-98AE-4FDD7DF8576F}"/>
              </a:ext>
            </a:extLst>
          </p:cNvPr>
          <p:cNvSpPr txBox="1"/>
          <p:nvPr/>
        </p:nvSpPr>
        <p:spPr>
          <a:xfrm>
            <a:off x="4146227" y="1738052"/>
            <a:ext cx="3148049" cy="553957"/>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000"/>
            </a:pPr>
            <a:r>
              <a:rPr lang="en-US" sz="1000" b="1" dirty="0">
                <a:solidFill>
                  <a:schemeClr val="dk1"/>
                </a:solidFill>
                <a:latin typeface="Book Antiqua" panose="02040602050305030304" pitchFamily="18" charset="0"/>
                <a:ea typeface="Arial"/>
                <a:cs typeface="Arial"/>
                <a:sym typeface="Arial"/>
              </a:rPr>
              <a:t>Men tend to have a CHD earlier on in life compared to women </a:t>
            </a:r>
            <a:endParaRPr sz="1400" b="0" i="0" u="none" strike="noStrike" cap="none" dirty="0">
              <a:solidFill>
                <a:srgbClr val="000000"/>
              </a:solidFill>
              <a:latin typeface="Book Antiqua" panose="02040602050305030304" pitchFamily="18" charset="0"/>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Book Antiqua" panose="02040602050305030304" pitchFamily="18" charset="0"/>
              <a:ea typeface="Arial"/>
              <a:cs typeface="Arial"/>
              <a:sym typeface="Arial"/>
            </a:endParaRPr>
          </a:p>
        </p:txBody>
      </p:sp>
      <p:sp>
        <p:nvSpPr>
          <p:cNvPr id="32" name="Google Shape;66;p2">
            <a:extLst>
              <a:ext uri="{FF2B5EF4-FFF2-40B4-BE49-F238E27FC236}">
                <a16:creationId xmlns:a16="http://schemas.microsoft.com/office/drawing/2014/main" id="{B3A3BACF-DB75-40ED-81DE-39E15C6CC1C4}"/>
              </a:ext>
            </a:extLst>
          </p:cNvPr>
          <p:cNvSpPr/>
          <p:nvPr/>
        </p:nvSpPr>
        <p:spPr>
          <a:xfrm>
            <a:off x="177734" y="5346592"/>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33" name="Google Shape;64;p2">
            <a:extLst>
              <a:ext uri="{FF2B5EF4-FFF2-40B4-BE49-F238E27FC236}">
                <a16:creationId xmlns:a16="http://schemas.microsoft.com/office/drawing/2014/main" id="{D685EC4D-F753-444E-B55B-940827EE7BE2}"/>
              </a:ext>
            </a:extLst>
          </p:cNvPr>
          <p:cNvSpPr txBox="1"/>
          <p:nvPr/>
        </p:nvSpPr>
        <p:spPr>
          <a:xfrm>
            <a:off x="271063" y="5610875"/>
            <a:ext cx="11259011" cy="553957"/>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228600" algn="l" rtl="0">
              <a:lnSpc>
                <a:spcPct val="100000"/>
              </a:lnSpc>
              <a:spcBef>
                <a:spcPts val="0"/>
              </a:spcBef>
              <a:spcAft>
                <a:spcPts val="0"/>
              </a:spcAft>
              <a:buClr>
                <a:schemeClr val="dk1"/>
              </a:buClr>
              <a:buSzPts val="1000"/>
              <a:buAutoNum type="arabicPeriod"/>
            </a:pPr>
            <a:r>
              <a:rPr lang="en-US" sz="1000" b="1" dirty="0">
                <a:solidFill>
                  <a:schemeClr val="dk1"/>
                </a:solidFill>
                <a:latin typeface="Book Antiqua" panose="02040602050305030304" pitchFamily="18" charset="0"/>
                <a:ea typeface="Arial"/>
                <a:cs typeface="Arial"/>
                <a:sym typeface="Arial"/>
              </a:rPr>
              <a:t>Certain behavioral factors like smoking shows a negative correlation while others seems to have negligible increase .</a:t>
            </a:r>
          </a:p>
          <a:p>
            <a:pPr marL="228600" marR="0" lvl="0" indent="-228600" algn="l" rtl="0">
              <a:lnSpc>
                <a:spcPct val="100000"/>
              </a:lnSpc>
              <a:spcBef>
                <a:spcPts val="0"/>
              </a:spcBef>
              <a:spcAft>
                <a:spcPts val="0"/>
              </a:spcAft>
              <a:buClr>
                <a:schemeClr val="dk1"/>
              </a:buClr>
              <a:buSzPts val="1000"/>
              <a:buAutoNum type="arabicPeriod"/>
            </a:pPr>
            <a:r>
              <a:rPr lang="en-US" sz="1000" b="1" dirty="0">
                <a:solidFill>
                  <a:schemeClr val="dk1"/>
                </a:solidFill>
                <a:latin typeface="Book Antiqua" panose="02040602050305030304" pitchFamily="18" charset="0"/>
                <a:ea typeface="Arial"/>
                <a:cs typeface="Arial"/>
                <a:sym typeface="Arial"/>
              </a:rPr>
              <a:t>Medical factors BP and Cholesterol shows  very slight increase with CHD present.</a:t>
            </a:r>
          </a:p>
          <a:p>
            <a:pPr marL="228600" marR="0" lvl="0" indent="-228600" algn="l" rtl="0">
              <a:lnSpc>
                <a:spcPct val="100000"/>
              </a:lnSpc>
              <a:spcBef>
                <a:spcPts val="0"/>
              </a:spcBef>
              <a:spcAft>
                <a:spcPts val="0"/>
              </a:spcAft>
              <a:buClr>
                <a:schemeClr val="dk1"/>
              </a:buClr>
              <a:buSzPts val="1000"/>
              <a:buAutoNum type="arabicPeriod"/>
            </a:pPr>
            <a:r>
              <a:rPr lang="en-US" sz="1000" b="1" i="0" u="none" strike="noStrike" cap="none" dirty="0">
                <a:solidFill>
                  <a:schemeClr val="dk1"/>
                </a:solidFill>
                <a:latin typeface="Book Antiqua" panose="02040602050305030304" pitchFamily="18" charset="0"/>
                <a:ea typeface="Arial"/>
                <a:cs typeface="Arial"/>
                <a:sym typeface="Arial"/>
              </a:rPr>
              <a:t>The</a:t>
            </a:r>
            <a:r>
              <a:rPr lang="en-US" sz="1000" b="1" dirty="0">
                <a:solidFill>
                  <a:schemeClr val="dk1"/>
                </a:solidFill>
                <a:latin typeface="Book Antiqua" panose="02040602050305030304" pitchFamily="18" charset="0"/>
                <a:ea typeface="Arial"/>
                <a:cs typeface="Arial"/>
                <a:sym typeface="Arial"/>
              </a:rPr>
              <a:t> sample should be extended to include more positive number of data and probably more attributes should be considered to get a better conclusion.</a:t>
            </a:r>
            <a:endParaRPr sz="1000" b="1" i="0" u="none" strike="noStrike" cap="none" dirty="0">
              <a:solidFill>
                <a:schemeClr val="dk1"/>
              </a:solidFill>
              <a:latin typeface="Book Antiqua" panose="02040602050305030304" pitchFamily="18" charset="0"/>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D040C-80C0-4A64-B3BD-9BBC357A6095}"/>
              </a:ext>
            </a:extLst>
          </p:cNvPr>
          <p:cNvSpPr>
            <a:spLocks noGrp="1"/>
          </p:cNvSpPr>
          <p:nvPr>
            <p:ph type="title"/>
          </p:nvPr>
        </p:nvSpPr>
        <p:spPr>
          <a:xfrm>
            <a:off x="233259" y="234863"/>
            <a:ext cx="11725485" cy="553998"/>
          </a:xfrm>
        </p:spPr>
        <p:txBody>
          <a:bodyPr/>
          <a:lstStyle/>
          <a:p>
            <a:r>
              <a:rPr lang="en-US" sz="1800" b="1" dirty="0">
                <a:latin typeface="Batang" panose="02030600000101010101" pitchFamily="18" charset="-127"/>
                <a:ea typeface="Batang" panose="02030600000101010101" pitchFamily="18" charset="-127"/>
              </a:rPr>
              <a:t>Comparative study of Men and Women with different underlying conditions shows hypertension, BP meds to be slightly corelated to CHD </a:t>
            </a:r>
          </a:p>
        </p:txBody>
      </p:sp>
      <p:pic>
        <p:nvPicPr>
          <p:cNvPr id="3" name="slide4" descr="CHD_Yes_Gender">
            <a:extLst>
              <a:ext uri="{FF2B5EF4-FFF2-40B4-BE49-F238E27FC236}">
                <a16:creationId xmlns:a16="http://schemas.microsoft.com/office/drawing/2014/main" id="{701A3F8F-B18F-4E43-8E3C-9856500AD9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783" y="1098260"/>
            <a:ext cx="7761275" cy="2468599"/>
          </a:xfrm>
          <a:prstGeom prst="rect">
            <a:avLst/>
          </a:prstGeom>
        </p:spPr>
      </p:pic>
      <p:pic>
        <p:nvPicPr>
          <p:cNvPr id="4" name="slide6" descr="CHD_Yes_AvgByGender">
            <a:extLst>
              <a:ext uri="{FF2B5EF4-FFF2-40B4-BE49-F238E27FC236}">
                <a16:creationId xmlns:a16="http://schemas.microsoft.com/office/drawing/2014/main" id="{9F31DD5A-AD4F-4388-8914-FD2448A840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4154" y="3566858"/>
            <a:ext cx="3594498" cy="2687359"/>
          </a:xfrm>
          <a:prstGeom prst="rect">
            <a:avLst/>
          </a:prstGeom>
        </p:spPr>
      </p:pic>
      <p:pic>
        <p:nvPicPr>
          <p:cNvPr id="5" name="slide7" descr="CHD_No_AvgByGender ">
            <a:extLst>
              <a:ext uri="{FF2B5EF4-FFF2-40B4-BE49-F238E27FC236}">
                <a16:creationId xmlns:a16="http://schemas.microsoft.com/office/drawing/2014/main" id="{3BCDE96C-7612-4608-A663-E895BF900F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1979" y="3734378"/>
            <a:ext cx="4516162" cy="2561716"/>
          </a:xfrm>
          <a:prstGeom prst="rect">
            <a:avLst/>
          </a:prstGeom>
        </p:spPr>
      </p:pic>
      <p:sp>
        <p:nvSpPr>
          <p:cNvPr id="6" name="Google Shape;64;p2">
            <a:extLst>
              <a:ext uri="{FF2B5EF4-FFF2-40B4-BE49-F238E27FC236}">
                <a16:creationId xmlns:a16="http://schemas.microsoft.com/office/drawing/2014/main" id="{C3730B95-B499-41E5-BA63-26686A7AA5AB}"/>
              </a:ext>
            </a:extLst>
          </p:cNvPr>
          <p:cNvSpPr txBox="1"/>
          <p:nvPr/>
        </p:nvSpPr>
        <p:spPr>
          <a:xfrm>
            <a:off x="8097011" y="1738052"/>
            <a:ext cx="3148049" cy="553957"/>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000"/>
            </a:pPr>
            <a:r>
              <a:rPr lang="en-US" sz="1000" b="1" dirty="0">
                <a:solidFill>
                  <a:schemeClr val="dk1"/>
                </a:solidFill>
                <a:latin typeface="Book Antiqua" panose="02040602050305030304" pitchFamily="18" charset="0"/>
                <a:ea typeface="Arial"/>
                <a:cs typeface="Arial"/>
                <a:sym typeface="Arial"/>
              </a:rPr>
              <a:t>Smoking and diabetes seems to be negatively correlated to CHD</a:t>
            </a:r>
            <a:endParaRPr sz="1400" b="0" i="0" u="none" strike="noStrike" cap="none" dirty="0">
              <a:solidFill>
                <a:srgbClr val="000000"/>
              </a:solidFill>
              <a:latin typeface="Book Antiqua" panose="02040602050305030304" pitchFamily="18" charset="0"/>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Book Antiqua" panose="02040602050305030304" pitchFamily="18" charset="0"/>
              <a:ea typeface="Arial"/>
              <a:cs typeface="Arial"/>
              <a:sym typeface="Arial"/>
            </a:endParaRPr>
          </a:p>
        </p:txBody>
      </p:sp>
      <p:sp>
        <p:nvSpPr>
          <p:cNvPr id="8" name="Google Shape;57;p2">
            <a:extLst>
              <a:ext uri="{FF2B5EF4-FFF2-40B4-BE49-F238E27FC236}">
                <a16:creationId xmlns:a16="http://schemas.microsoft.com/office/drawing/2014/main" id="{5779D0F7-9223-428A-AAE9-2041C4F4C60D}"/>
              </a:ext>
            </a:extLst>
          </p:cNvPr>
          <p:cNvSpPr/>
          <p:nvPr/>
        </p:nvSpPr>
        <p:spPr>
          <a:xfrm>
            <a:off x="-27915" y="6547383"/>
            <a:ext cx="7035992" cy="371166"/>
          </a:xfrm>
          <a:prstGeom prst="rect">
            <a:avLst/>
          </a:prstGeom>
          <a:noFill/>
          <a:ln>
            <a:noFill/>
          </a:ln>
        </p:spPr>
        <p:txBody>
          <a:bodyPr spcFirstLastPara="1" wrap="square" lIns="93282" tIns="46628" rIns="93282" bIns="46628" anchor="t" anchorCtr="0">
            <a:spAutoFit/>
          </a:bodyPr>
          <a:lstStyle/>
          <a:p>
            <a:pPr>
              <a:buSzPts val="800"/>
            </a:pPr>
            <a:r>
              <a:rPr lang="en-US" sz="900" b="1" dirty="0">
                <a:solidFill>
                  <a:schemeClr val="dk1"/>
                </a:solidFill>
                <a:latin typeface="Book Antiqua" panose="02040602050305030304" pitchFamily="18" charset="0"/>
                <a:ea typeface="Arial"/>
                <a:cs typeface="Arial"/>
                <a:sym typeface="Arial"/>
              </a:rPr>
              <a:t>Source: </a:t>
            </a:r>
            <a:r>
              <a:rPr lang="en-US" sz="900" b="1" dirty="0">
                <a:latin typeface="Book Antiqua" panose="02040602050305030304" pitchFamily="18" charset="0"/>
                <a:ea typeface="Batang" panose="02030600000101010101" pitchFamily="18" charset="-127"/>
                <a:cs typeface="Cavolini" panose="020B0502040204020203" pitchFamily="66" charset="0"/>
                <a:hlinkClick r:id="rId5">
                  <a:extLst>
                    <a:ext uri="{A12FA001-AC4F-418D-AE19-62706E023703}">
                      <ahyp:hlinkClr xmlns:ahyp="http://schemas.microsoft.com/office/drawing/2018/hyperlinkcolor" val="tx"/>
                    </a:ext>
                  </a:extLst>
                </a:hlinkClick>
              </a:rPr>
              <a:t>https://www.kaggle.com/dileep070/heart-disease-prediction-using-logistic-regression</a:t>
            </a:r>
            <a:endParaRPr lang="en-US" sz="900" b="1" dirty="0">
              <a:latin typeface="Book Antiqua" panose="02040602050305030304" pitchFamily="18" charset="0"/>
              <a:ea typeface="Batang" panose="02030600000101010101" pitchFamily="18" charset="-127"/>
              <a:cs typeface="Cavolini" panose="020B0502040204020203" pitchFamily="66" charset="0"/>
            </a:endParaRPr>
          </a:p>
          <a:p>
            <a:pPr>
              <a:buSzPts val="800"/>
            </a:pPr>
            <a:endParaRPr sz="900" dirty="0">
              <a:solidFill>
                <a:srgbClr val="000000"/>
              </a:solidFill>
              <a:latin typeface="Book Antiqua" panose="02040602050305030304" pitchFamily="18" charset="0"/>
              <a:ea typeface="Arial"/>
              <a:cs typeface="Arial"/>
              <a:sym typeface="Arial"/>
            </a:endParaRPr>
          </a:p>
        </p:txBody>
      </p:sp>
      <p:sp>
        <p:nvSpPr>
          <p:cNvPr id="9" name="Google Shape;64;p2">
            <a:extLst>
              <a:ext uri="{FF2B5EF4-FFF2-40B4-BE49-F238E27FC236}">
                <a16:creationId xmlns:a16="http://schemas.microsoft.com/office/drawing/2014/main" id="{69E1AFB1-8ECF-47B3-BC33-31F7CE436229}"/>
              </a:ext>
            </a:extLst>
          </p:cNvPr>
          <p:cNvSpPr txBox="1"/>
          <p:nvPr/>
        </p:nvSpPr>
        <p:spPr>
          <a:xfrm>
            <a:off x="194288" y="4619696"/>
            <a:ext cx="3148049" cy="707846"/>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R="0" lvl="0" algn="l" rtl="0">
              <a:lnSpc>
                <a:spcPct val="100000"/>
              </a:lnSpc>
              <a:spcBef>
                <a:spcPts val="0"/>
              </a:spcBef>
              <a:spcAft>
                <a:spcPts val="0"/>
              </a:spcAft>
              <a:buClr>
                <a:schemeClr val="dk1"/>
              </a:buClr>
              <a:buSzPts val="1000"/>
            </a:pPr>
            <a:r>
              <a:rPr lang="en-US" sz="1000" b="1" dirty="0">
                <a:solidFill>
                  <a:schemeClr val="dk1"/>
                </a:solidFill>
                <a:latin typeface="Book Antiqua" panose="02040602050305030304" pitchFamily="18" charset="0"/>
                <a:ea typeface="Arial"/>
                <a:cs typeface="Arial"/>
                <a:sym typeface="Arial"/>
              </a:rPr>
              <a:t>Present underlying condition of BP and Cholesterol increases negligibly in the case of positive CHD </a:t>
            </a:r>
            <a:endParaRPr sz="1400" b="0" i="0" u="none" strike="noStrike" cap="none" dirty="0">
              <a:solidFill>
                <a:srgbClr val="000000"/>
              </a:solidFill>
              <a:latin typeface="Book Antiqua" panose="02040602050305030304" pitchFamily="18" charset="0"/>
              <a:ea typeface="Arial"/>
              <a:cs typeface="Arial"/>
              <a:sym typeface="Arial"/>
            </a:endParaRPr>
          </a:p>
          <a:p>
            <a:pPr marL="228600" marR="0" lvl="0" indent="-165100" algn="l" rtl="0">
              <a:lnSpc>
                <a:spcPct val="100000"/>
              </a:lnSpc>
              <a:spcBef>
                <a:spcPts val="0"/>
              </a:spcBef>
              <a:spcAft>
                <a:spcPts val="0"/>
              </a:spcAft>
              <a:buClr>
                <a:schemeClr val="dk1"/>
              </a:buClr>
              <a:buSzPts val="1000"/>
              <a:buFont typeface="Arial"/>
              <a:buNone/>
            </a:pPr>
            <a:endParaRPr sz="1000" b="1" i="0" u="none" strike="noStrike" cap="none" dirty="0">
              <a:solidFill>
                <a:schemeClr val="dk1"/>
              </a:solidFill>
              <a:latin typeface="Book Antiqua" panose="02040602050305030304" pitchFamily="18" charset="0"/>
              <a:ea typeface="Arial"/>
              <a:cs typeface="Arial"/>
              <a:sym typeface="Arial"/>
            </a:endParaRPr>
          </a:p>
        </p:txBody>
      </p:sp>
    </p:spTree>
    <p:extLst>
      <p:ext uri="{BB962C8B-B14F-4D97-AF65-F5344CB8AC3E}">
        <p14:creationId xmlns:p14="http://schemas.microsoft.com/office/powerpoint/2010/main" val="3634690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79809-5337-4E82-9CD6-E82F56502469}"/>
              </a:ext>
            </a:extLst>
          </p:cNvPr>
          <p:cNvSpPr>
            <a:spLocks noGrp="1"/>
          </p:cNvSpPr>
          <p:nvPr>
            <p:ph type="title"/>
          </p:nvPr>
        </p:nvSpPr>
        <p:spPr>
          <a:xfrm>
            <a:off x="233259" y="234863"/>
            <a:ext cx="11725485" cy="553998"/>
          </a:xfrm>
        </p:spPr>
        <p:txBody>
          <a:bodyPr/>
          <a:lstStyle/>
          <a:p>
            <a:r>
              <a:rPr lang="en-US" sz="1800" b="1" dirty="0">
                <a:latin typeface="Batang" panose="02030600000101010101" pitchFamily="18" charset="-127"/>
                <a:ea typeface="Batang" panose="02030600000101010101" pitchFamily="18" charset="-127"/>
              </a:rPr>
              <a:t>Comparison of Systolic BP and Cholesterol in the CHD positive and negative cases by gender shows some negligible fluctuations </a:t>
            </a:r>
          </a:p>
        </p:txBody>
      </p:sp>
      <p:pic>
        <p:nvPicPr>
          <p:cNvPr id="3" name="slide8" descr="Cholestrol_comp">
            <a:extLst>
              <a:ext uri="{FF2B5EF4-FFF2-40B4-BE49-F238E27FC236}">
                <a16:creationId xmlns:a16="http://schemas.microsoft.com/office/drawing/2014/main" id="{EB68786D-CFD3-465C-A974-489974A167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232" y="1094562"/>
            <a:ext cx="6525437" cy="4766310"/>
          </a:xfrm>
          <a:prstGeom prst="rect">
            <a:avLst/>
          </a:prstGeom>
        </p:spPr>
      </p:pic>
      <p:pic>
        <p:nvPicPr>
          <p:cNvPr id="4" name="slide9" descr="SYS_BP">
            <a:extLst>
              <a:ext uri="{FF2B5EF4-FFF2-40B4-BE49-F238E27FC236}">
                <a16:creationId xmlns:a16="http://schemas.microsoft.com/office/drawing/2014/main" id="{67CCAFFB-2294-4CDD-A6A6-B3B98594D8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5489" y="1178553"/>
            <a:ext cx="4983255" cy="4682319"/>
          </a:xfrm>
          <a:prstGeom prst="rect">
            <a:avLst/>
          </a:prstGeom>
        </p:spPr>
      </p:pic>
      <p:sp>
        <p:nvSpPr>
          <p:cNvPr id="37" name="Google Shape;57;p2">
            <a:extLst>
              <a:ext uri="{FF2B5EF4-FFF2-40B4-BE49-F238E27FC236}">
                <a16:creationId xmlns:a16="http://schemas.microsoft.com/office/drawing/2014/main" id="{A7E5AFBE-A7A4-42A8-B148-87B149BF5652}"/>
              </a:ext>
            </a:extLst>
          </p:cNvPr>
          <p:cNvSpPr/>
          <p:nvPr/>
        </p:nvSpPr>
        <p:spPr>
          <a:xfrm>
            <a:off x="-52251" y="6522720"/>
            <a:ext cx="7060328" cy="371166"/>
          </a:xfrm>
          <a:prstGeom prst="rect">
            <a:avLst/>
          </a:prstGeom>
          <a:noFill/>
          <a:ln>
            <a:noFill/>
          </a:ln>
        </p:spPr>
        <p:txBody>
          <a:bodyPr spcFirstLastPara="1" wrap="square" lIns="93282" tIns="46628" rIns="93282" bIns="46628" anchor="t" anchorCtr="0">
            <a:spAutoFit/>
          </a:bodyPr>
          <a:lstStyle/>
          <a:p>
            <a:pPr>
              <a:buSzPts val="800"/>
            </a:pPr>
            <a:r>
              <a:rPr lang="en-US" sz="900" b="1" dirty="0">
                <a:solidFill>
                  <a:schemeClr val="dk1"/>
                </a:solidFill>
                <a:latin typeface="Book Antiqua" panose="02040602050305030304" pitchFamily="18" charset="0"/>
                <a:ea typeface="Arial"/>
                <a:cs typeface="Arial"/>
                <a:sym typeface="Arial"/>
              </a:rPr>
              <a:t>Source: </a:t>
            </a:r>
            <a:r>
              <a:rPr lang="en-US" sz="900" b="1" dirty="0">
                <a:latin typeface="Book Antiqua" panose="02040602050305030304" pitchFamily="18" charset="0"/>
                <a:ea typeface="Batang" panose="02030600000101010101" pitchFamily="18" charset="-127"/>
                <a:cs typeface="Cavolini" panose="020B0502040204020203" pitchFamily="66" charset="0"/>
                <a:hlinkClick r:id="rId4">
                  <a:extLst>
                    <a:ext uri="{A12FA001-AC4F-418D-AE19-62706E023703}">
                      <ahyp:hlinkClr xmlns:ahyp="http://schemas.microsoft.com/office/drawing/2018/hyperlinkcolor" val="tx"/>
                    </a:ext>
                  </a:extLst>
                </a:hlinkClick>
              </a:rPr>
              <a:t>https://www.kaggle.com/dileep070/heart-disease-prediction-using-logistic-regression</a:t>
            </a:r>
            <a:endParaRPr lang="en-US" sz="900" b="1" dirty="0">
              <a:latin typeface="Book Antiqua" panose="02040602050305030304" pitchFamily="18" charset="0"/>
              <a:ea typeface="Batang" panose="02030600000101010101" pitchFamily="18" charset="-127"/>
              <a:cs typeface="Cavolini" panose="020B0502040204020203" pitchFamily="66" charset="0"/>
            </a:endParaRPr>
          </a:p>
          <a:p>
            <a:pPr>
              <a:buSzPts val="800"/>
            </a:pPr>
            <a:endParaRPr sz="900" dirty="0">
              <a:solidFill>
                <a:srgbClr val="000000"/>
              </a:solidFill>
              <a:latin typeface="Book Antiqua" panose="02040602050305030304" pitchFamily="18" charset="0"/>
              <a:ea typeface="Arial"/>
              <a:cs typeface="Arial"/>
              <a:sym typeface="Arial"/>
            </a:endParaRPr>
          </a:p>
        </p:txBody>
      </p:sp>
    </p:spTree>
    <p:extLst>
      <p:ext uri="{BB962C8B-B14F-4D97-AF65-F5344CB8AC3E}">
        <p14:creationId xmlns:p14="http://schemas.microsoft.com/office/powerpoint/2010/main" val="457317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5973A-9E89-43CD-B90A-A6D45E9E6502}"/>
              </a:ext>
            </a:extLst>
          </p:cNvPr>
          <p:cNvSpPr>
            <a:spLocks noGrp="1"/>
          </p:cNvSpPr>
          <p:nvPr>
            <p:ph type="title"/>
          </p:nvPr>
        </p:nvSpPr>
        <p:spPr>
          <a:xfrm>
            <a:off x="233259" y="234863"/>
            <a:ext cx="11725485" cy="553998"/>
          </a:xfrm>
        </p:spPr>
        <p:txBody>
          <a:bodyPr/>
          <a:lstStyle/>
          <a:p>
            <a:r>
              <a:rPr lang="en-US" sz="1800" b="1" dirty="0">
                <a:solidFill>
                  <a:prstClr val="black">
                    <a:lumMod val="75000"/>
                    <a:lumOff val="25000"/>
                  </a:prstClr>
                </a:solidFill>
                <a:latin typeface="Batang" panose="02030600000101010101" pitchFamily="18" charset="-127"/>
                <a:ea typeface="Batang" panose="02030600000101010101" pitchFamily="18" charset="-127"/>
              </a:rPr>
              <a:t>Comparison of BMI and Heart Rate in the CHD positive and negative cases by gender shows some increase in BMI of females in CHD positive. Heart rate changes are negligible.</a:t>
            </a:r>
            <a:endParaRPr lang="en-US" dirty="0"/>
          </a:p>
        </p:txBody>
      </p:sp>
      <p:pic>
        <p:nvPicPr>
          <p:cNvPr id="3" name="slide11" descr="BMI">
            <a:extLst>
              <a:ext uri="{FF2B5EF4-FFF2-40B4-BE49-F238E27FC236}">
                <a16:creationId xmlns:a16="http://schemas.microsoft.com/office/drawing/2014/main" id="{B92E5C6A-7EDC-41CE-9444-6CF9FCE85C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286" y="1088572"/>
            <a:ext cx="6041303" cy="4632959"/>
          </a:xfrm>
          <a:prstGeom prst="rect">
            <a:avLst/>
          </a:prstGeom>
        </p:spPr>
      </p:pic>
      <p:sp>
        <p:nvSpPr>
          <p:cNvPr id="6" name="Google Shape;57;p2">
            <a:extLst>
              <a:ext uri="{FF2B5EF4-FFF2-40B4-BE49-F238E27FC236}">
                <a16:creationId xmlns:a16="http://schemas.microsoft.com/office/drawing/2014/main" id="{8E8BF04F-252C-4815-9028-56F621CD2720}"/>
              </a:ext>
            </a:extLst>
          </p:cNvPr>
          <p:cNvSpPr/>
          <p:nvPr/>
        </p:nvSpPr>
        <p:spPr>
          <a:xfrm>
            <a:off x="-52251" y="6522720"/>
            <a:ext cx="7060328" cy="371166"/>
          </a:xfrm>
          <a:prstGeom prst="rect">
            <a:avLst/>
          </a:prstGeom>
          <a:noFill/>
          <a:ln>
            <a:noFill/>
          </a:ln>
        </p:spPr>
        <p:txBody>
          <a:bodyPr spcFirstLastPara="1" wrap="square" lIns="93282" tIns="46628" rIns="93282" bIns="46628" anchor="t" anchorCtr="0">
            <a:spAutoFit/>
          </a:bodyPr>
          <a:lstStyle/>
          <a:p>
            <a:pPr>
              <a:buSzPts val="800"/>
            </a:pPr>
            <a:r>
              <a:rPr lang="en-US" sz="900" b="1" dirty="0">
                <a:solidFill>
                  <a:schemeClr val="dk1"/>
                </a:solidFill>
                <a:latin typeface="Book Antiqua" panose="02040602050305030304" pitchFamily="18" charset="0"/>
                <a:ea typeface="Arial"/>
                <a:cs typeface="Arial"/>
                <a:sym typeface="Arial"/>
              </a:rPr>
              <a:t>Source: </a:t>
            </a:r>
            <a:r>
              <a:rPr lang="en-US" sz="900" b="1" dirty="0">
                <a:latin typeface="Book Antiqua" panose="02040602050305030304" pitchFamily="18" charset="0"/>
                <a:ea typeface="Batang" panose="02030600000101010101" pitchFamily="18" charset="-127"/>
                <a:cs typeface="Cavolini" panose="020B0502040204020203" pitchFamily="66" charset="0"/>
                <a:hlinkClick r:id="rId3">
                  <a:extLst>
                    <a:ext uri="{A12FA001-AC4F-418D-AE19-62706E023703}">
                      <ahyp:hlinkClr xmlns:ahyp="http://schemas.microsoft.com/office/drawing/2018/hyperlinkcolor" val="tx"/>
                    </a:ext>
                  </a:extLst>
                </a:hlinkClick>
              </a:rPr>
              <a:t>https://www.kaggle.com/dileep070/heart-disease-prediction-using-logistic-regression</a:t>
            </a:r>
            <a:endParaRPr lang="en-US" sz="900" b="1" dirty="0">
              <a:latin typeface="Book Antiqua" panose="02040602050305030304" pitchFamily="18" charset="0"/>
              <a:ea typeface="Batang" panose="02030600000101010101" pitchFamily="18" charset="-127"/>
              <a:cs typeface="Cavolini" panose="020B0502040204020203" pitchFamily="66" charset="0"/>
            </a:endParaRPr>
          </a:p>
          <a:p>
            <a:pPr>
              <a:buSzPts val="800"/>
            </a:pPr>
            <a:endParaRPr sz="900" dirty="0">
              <a:solidFill>
                <a:srgbClr val="000000"/>
              </a:solidFill>
              <a:latin typeface="Book Antiqua" panose="02040602050305030304" pitchFamily="18" charset="0"/>
              <a:ea typeface="Arial"/>
              <a:cs typeface="Arial"/>
              <a:sym typeface="Arial"/>
            </a:endParaRPr>
          </a:p>
        </p:txBody>
      </p:sp>
      <p:pic>
        <p:nvPicPr>
          <p:cNvPr id="7" name="slide12" descr="HeartRate">
            <a:extLst>
              <a:ext uri="{FF2B5EF4-FFF2-40B4-BE49-F238E27FC236}">
                <a16:creationId xmlns:a16="http://schemas.microsoft.com/office/drawing/2014/main" id="{DA576CD6-5514-43F9-AC16-C03CD8C8EE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7588" y="1088572"/>
            <a:ext cx="5718271" cy="4689033"/>
          </a:xfrm>
          <a:prstGeom prst="rect">
            <a:avLst/>
          </a:prstGeom>
        </p:spPr>
      </p:pic>
    </p:spTree>
    <p:extLst>
      <p:ext uri="{BB962C8B-B14F-4D97-AF65-F5344CB8AC3E}">
        <p14:creationId xmlns:p14="http://schemas.microsoft.com/office/powerpoint/2010/main" val="3667626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FAD66-69C8-4BED-B9D0-1F7DA0E3BF3A}"/>
              </a:ext>
            </a:extLst>
          </p:cNvPr>
          <p:cNvSpPr>
            <a:spLocks noGrp="1"/>
          </p:cNvSpPr>
          <p:nvPr>
            <p:ph type="title"/>
          </p:nvPr>
        </p:nvSpPr>
        <p:spPr>
          <a:xfrm>
            <a:off x="233259" y="234863"/>
            <a:ext cx="11725485" cy="276999"/>
          </a:xfrm>
        </p:spPr>
        <p:txBody>
          <a:bodyPr/>
          <a:lstStyle/>
          <a:p>
            <a:r>
              <a:rPr lang="en-US" sz="1800" b="1" dirty="0">
                <a:solidFill>
                  <a:prstClr val="black">
                    <a:lumMod val="75000"/>
                    <a:lumOff val="25000"/>
                  </a:prstClr>
                </a:solidFill>
                <a:latin typeface="Batang" panose="02030600000101010101" pitchFamily="18" charset="-127"/>
                <a:ea typeface="Batang" panose="02030600000101010101" pitchFamily="18" charset="-127"/>
              </a:rPr>
              <a:t>Further statistical analysis confirms very low correlation between the attributes and the Chronic Heart Disease.</a:t>
            </a:r>
            <a:endParaRPr lang="en-US" dirty="0"/>
          </a:p>
        </p:txBody>
      </p:sp>
      <p:pic>
        <p:nvPicPr>
          <p:cNvPr id="3" name="Picture 2">
            <a:extLst>
              <a:ext uri="{FF2B5EF4-FFF2-40B4-BE49-F238E27FC236}">
                <a16:creationId xmlns:a16="http://schemas.microsoft.com/office/drawing/2014/main" id="{4EF2F85E-4DBB-4C09-9450-B68B74055604}"/>
              </a:ext>
            </a:extLst>
          </p:cNvPr>
          <p:cNvPicPr>
            <a:picLocks noChangeAspect="1"/>
          </p:cNvPicPr>
          <p:nvPr/>
        </p:nvPicPr>
        <p:blipFill>
          <a:blip r:embed="rId2"/>
          <a:stretch>
            <a:fillRect/>
          </a:stretch>
        </p:blipFill>
        <p:spPr>
          <a:xfrm>
            <a:off x="233258" y="1448695"/>
            <a:ext cx="11725485" cy="3809062"/>
          </a:xfrm>
          <a:prstGeom prst="rect">
            <a:avLst/>
          </a:prstGeom>
        </p:spPr>
      </p:pic>
      <p:sp>
        <p:nvSpPr>
          <p:cNvPr id="4" name="TextBox 3">
            <a:extLst>
              <a:ext uri="{FF2B5EF4-FFF2-40B4-BE49-F238E27FC236}">
                <a16:creationId xmlns:a16="http://schemas.microsoft.com/office/drawing/2014/main" id="{8804BFF3-3DD0-4BC2-BE82-DD43114997EA}"/>
              </a:ext>
            </a:extLst>
          </p:cNvPr>
          <p:cNvSpPr txBox="1"/>
          <p:nvPr/>
        </p:nvSpPr>
        <p:spPr>
          <a:xfrm>
            <a:off x="481630" y="5507340"/>
            <a:ext cx="7845691" cy="369332"/>
          </a:xfrm>
          <a:prstGeom prst="rect">
            <a:avLst/>
          </a:prstGeom>
          <a:noFill/>
        </p:spPr>
        <p:txBody>
          <a:bodyPr wrap="square" rtlCol="0">
            <a:spAutoFit/>
          </a:bodyPr>
          <a:lstStyle/>
          <a:p>
            <a:r>
              <a:rPr lang="en-US" dirty="0"/>
              <a:t>A regression analysis showed a R Square value to be very low at  0.097114254 </a:t>
            </a:r>
          </a:p>
        </p:txBody>
      </p:sp>
    </p:spTree>
    <p:extLst>
      <p:ext uri="{BB962C8B-B14F-4D97-AF65-F5344CB8AC3E}">
        <p14:creationId xmlns:p14="http://schemas.microsoft.com/office/powerpoint/2010/main" val="829997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F7C36B-2A95-4DB1-A402-5367DFD511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9FCA75FA-F681-4B5D-93C7-49F3DDA1D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3" name="Straight Connector 12">
            <a:extLst>
              <a:ext uri="{FF2B5EF4-FFF2-40B4-BE49-F238E27FC236}">
                <a16:creationId xmlns:a16="http://schemas.microsoft.com/office/drawing/2014/main" id="{834E074C-27C4-4E38-B099-012123B754E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2216725-3FD8-4187-A7A2-B1C19A4CFA09}"/>
              </a:ext>
            </a:extLst>
          </p:cNvPr>
          <p:cNvPicPr>
            <a:picLocks noChangeAspect="1"/>
          </p:cNvPicPr>
          <p:nvPr/>
        </p:nvPicPr>
        <p:blipFill rotWithShape="1">
          <a:blip r:embed="rId2">
            <a:duotone>
              <a:schemeClr val="bg2">
                <a:shade val="45000"/>
                <a:satMod val="135000"/>
              </a:schemeClr>
              <a:prstClr val="white"/>
            </a:duotone>
            <a:alphaModFix amt="35000"/>
          </a:blip>
          <a:srcRect t="11570" b="3844"/>
          <a:stretch/>
        </p:blipFill>
        <p:spPr>
          <a:xfrm>
            <a:off x="20" y="10"/>
            <a:ext cx="12191980" cy="6857990"/>
          </a:xfrm>
          <a:prstGeom prst="rect">
            <a:avLst/>
          </a:prstGeom>
        </p:spPr>
      </p:pic>
      <p:cxnSp>
        <p:nvCxnSpPr>
          <p:cNvPr id="15" name="Straight Connector 14">
            <a:extLst>
              <a:ext uri="{FF2B5EF4-FFF2-40B4-BE49-F238E27FC236}">
                <a16:creationId xmlns:a16="http://schemas.microsoft.com/office/drawing/2014/main" id="{CBA20C44-5AE4-4DC9-A91C-643BC9C1EDF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724394-7B0C-498B-9511-C2C1FBB5C4B3}"/>
              </a:ext>
            </a:extLst>
          </p:cNvPr>
          <p:cNvSpPr>
            <a:spLocks noGrp="1"/>
          </p:cNvSpPr>
          <p:nvPr>
            <p:ph type="title"/>
          </p:nvPr>
        </p:nvSpPr>
        <p:spPr>
          <a:xfrm>
            <a:off x="1097280" y="286603"/>
            <a:ext cx="10058400" cy="1450757"/>
          </a:xfrm>
        </p:spPr>
        <p:txBody>
          <a:bodyPr vert="horz" lIns="91440" tIns="45720" rIns="91440" bIns="45720" rtlCol="0" anchor="b">
            <a:normAutofit/>
          </a:bodyPr>
          <a:lstStyle/>
          <a:p>
            <a:pPr algn="ctr">
              <a:lnSpc>
                <a:spcPct val="85000"/>
              </a:lnSpc>
              <a:spcBef>
                <a:spcPct val="0"/>
              </a:spcBef>
            </a:pPr>
            <a:r>
              <a:rPr lang="en-US" sz="4000" b="1" u="sng" dirty="0">
                <a:latin typeface="Batang" panose="02030600000101010101" pitchFamily="18" charset="-127"/>
                <a:ea typeface="Batang" panose="02030600000101010101" pitchFamily="18" charset="-127"/>
              </a:rPr>
              <a:t>CONCLUSION</a:t>
            </a:r>
          </a:p>
        </p:txBody>
      </p:sp>
      <p:sp>
        <p:nvSpPr>
          <p:cNvPr id="3" name="TextBox 2">
            <a:extLst>
              <a:ext uri="{FF2B5EF4-FFF2-40B4-BE49-F238E27FC236}">
                <a16:creationId xmlns:a16="http://schemas.microsoft.com/office/drawing/2014/main" id="{4252C28A-9D63-4AF2-A54B-EA7F97BA0B52}"/>
              </a:ext>
            </a:extLst>
          </p:cNvPr>
          <p:cNvSpPr txBox="1"/>
          <p:nvPr/>
        </p:nvSpPr>
        <p:spPr>
          <a:xfrm>
            <a:off x="1097280" y="1845734"/>
            <a:ext cx="10058400" cy="4023360"/>
          </a:xfrm>
          <a:prstGeom prst="rect">
            <a:avLst/>
          </a:prstGeom>
        </p:spPr>
        <p:txBody>
          <a:bodyPr vert="horz" lIns="0" tIns="45720" rIns="0" bIns="45720" rtlCol="0">
            <a:normAutofit/>
          </a:bodyPr>
          <a:lstStyle/>
          <a:p>
            <a:pPr marL="342900" indent="-342900" defTabSz="914400">
              <a:lnSpc>
                <a:spcPct val="90000"/>
              </a:lnSpc>
              <a:spcAft>
                <a:spcPts val="600"/>
              </a:spcAft>
              <a:buClr>
                <a:schemeClr val="accent1"/>
              </a:buClr>
              <a:buFont typeface="Calibri" panose="020F0502020204030204" pitchFamily="34" charset="0"/>
              <a:buAutoNum type="arabicPeriod"/>
            </a:pPr>
            <a:r>
              <a:rPr lang="en-US" b="1" dirty="0">
                <a:solidFill>
                  <a:schemeClr val="tx1">
                    <a:lumMod val="75000"/>
                    <a:lumOff val="25000"/>
                  </a:schemeClr>
                </a:solidFill>
                <a:latin typeface="Batang" panose="02030600000101010101" pitchFamily="18" charset="-127"/>
                <a:ea typeface="Batang" panose="02030600000101010101" pitchFamily="18" charset="-127"/>
              </a:rPr>
              <a:t>The sample dataset has very low percentage of People with a past in CHD.</a:t>
            </a:r>
          </a:p>
          <a:p>
            <a:pPr marL="342900" indent="-342900" defTabSz="914400">
              <a:lnSpc>
                <a:spcPct val="90000"/>
              </a:lnSpc>
              <a:spcAft>
                <a:spcPts val="600"/>
              </a:spcAft>
              <a:buClr>
                <a:schemeClr val="accent1"/>
              </a:buClr>
              <a:buFont typeface="Calibri" panose="020F0502020204030204" pitchFamily="34" charset="0"/>
              <a:buAutoNum type="arabicPeriod"/>
            </a:pPr>
            <a:r>
              <a:rPr lang="en-US" b="1" dirty="0">
                <a:solidFill>
                  <a:schemeClr val="tx1">
                    <a:lumMod val="75000"/>
                    <a:lumOff val="25000"/>
                  </a:schemeClr>
                </a:solidFill>
                <a:latin typeface="Batang" panose="02030600000101010101" pitchFamily="18" charset="-127"/>
                <a:ea typeface="Batang" panose="02030600000101010101" pitchFamily="18" charset="-127"/>
              </a:rPr>
              <a:t>The statistical analysis shows No or negligible correlation between the different attributes and CHD. </a:t>
            </a:r>
          </a:p>
          <a:p>
            <a:pPr marL="342900" indent="-342900" defTabSz="914400">
              <a:lnSpc>
                <a:spcPct val="90000"/>
              </a:lnSpc>
              <a:spcAft>
                <a:spcPts val="600"/>
              </a:spcAft>
              <a:buClr>
                <a:schemeClr val="accent1"/>
              </a:buClr>
              <a:buFont typeface="Calibri" panose="020F0502020204030204" pitchFamily="34" charset="0"/>
              <a:buAutoNum type="arabicPeriod"/>
            </a:pPr>
            <a:r>
              <a:rPr lang="en-US" b="1" dirty="0">
                <a:solidFill>
                  <a:schemeClr val="tx1">
                    <a:lumMod val="75000"/>
                    <a:lumOff val="25000"/>
                  </a:schemeClr>
                </a:solidFill>
                <a:latin typeface="Batang" panose="02030600000101010101" pitchFamily="18" charset="-127"/>
                <a:ea typeface="Batang" panose="02030600000101010101" pitchFamily="18" charset="-127"/>
              </a:rPr>
              <a:t>Hence not possible to derive a logical conclusion on what changes in lifestyle could decrease the chances of Chronic heart disease in high risk patients.</a:t>
            </a:r>
          </a:p>
          <a:p>
            <a:pPr marL="342900" indent="-342900" defTabSz="914400">
              <a:lnSpc>
                <a:spcPct val="90000"/>
              </a:lnSpc>
              <a:spcAft>
                <a:spcPts val="600"/>
              </a:spcAft>
              <a:buClr>
                <a:schemeClr val="accent1"/>
              </a:buClr>
              <a:buFont typeface="Calibri" panose="020F0502020204030204" pitchFamily="34" charset="0"/>
              <a:buAutoNum type="arabicPeriod"/>
            </a:pPr>
            <a:r>
              <a:rPr lang="en-US" b="1" dirty="0">
                <a:solidFill>
                  <a:schemeClr val="tx1">
                    <a:lumMod val="75000"/>
                    <a:lumOff val="25000"/>
                  </a:schemeClr>
                </a:solidFill>
                <a:latin typeface="Batang" panose="02030600000101010101" pitchFamily="18" charset="-127"/>
                <a:ea typeface="Batang" panose="02030600000101010101" pitchFamily="18" charset="-127"/>
              </a:rPr>
              <a:t>In order to derive a better conclusion we need to :</a:t>
            </a:r>
          </a:p>
          <a:p>
            <a:pPr marL="800100" lvl="1" indent="-342900" defTabSz="914400">
              <a:lnSpc>
                <a:spcPct val="90000"/>
              </a:lnSpc>
              <a:spcAft>
                <a:spcPts val="600"/>
              </a:spcAft>
              <a:buClr>
                <a:schemeClr val="accent1"/>
              </a:buClr>
              <a:buFont typeface="Calibri" panose="020F0502020204030204" pitchFamily="34" charset="0"/>
              <a:buChar char="•"/>
            </a:pPr>
            <a:r>
              <a:rPr lang="en-US" b="1" dirty="0">
                <a:solidFill>
                  <a:schemeClr val="tx1">
                    <a:lumMod val="75000"/>
                    <a:lumOff val="25000"/>
                  </a:schemeClr>
                </a:solidFill>
                <a:latin typeface="Batang" panose="02030600000101010101" pitchFamily="18" charset="-127"/>
                <a:ea typeface="Batang" panose="02030600000101010101" pitchFamily="18" charset="-127"/>
              </a:rPr>
              <a:t>Include more positive cases in our dataset</a:t>
            </a:r>
          </a:p>
          <a:p>
            <a:pPr marL="800100" lvl="1" indent="-342900" defTabSz="914400">
              <a:lnSpc>
                <a:spcPct val="90000"/>
              </a:lnSpc>
              <a:spcAft>
                <a:spcPts val="600"/>
              </a:spcAft>
              <a:buClr>
                <a:schemeClr val="accent1"/>
              </a:buClr>
              <a:buFont typeface="Calibri" panose="020F0502020204030204" pitchFamily="34" charset="0"/>
              <a:buChar char="•"/>
            </a:pPr>
            <a:r>
              <a:rPr lang="en-US" b="1" dirty="0">
                <a:solidFill>
                  <a:schemeClr val="tx1">
                    <a:lumMod val="75000"/>
                    <a:lumOff val="25000"/>
                  </a:schemeClr>
                </a:solidFill>
                <a:latin typeface="Batang" panose="02030600000101010101" pitchFamily="18" charset="-127"/>
                <a:ea typeface="Batang" panose="02030600000101010101" pitchFamily="18" charset="-127"/>
              </a:rPr>
              <a:t>Include data from more geographical area</a:t>
            </a:r>
          </a:p>
          <a:p>
            <a:pPr marL="800100" lvl="1" indent="-342900" defTabSz="914400">
              <a:lnSpc>
                <a:spcPct val="90000"/>
              </a:lnSpc>
              <a:spcAft>
                <a:spcPts val="600"/>
              </a:spcAft>
              <a:buClr>
                <a:schemeClr val="accent1"/>
              </a:buClr>
              <a:buFont typeface="Calibri" panose="020F0502020204030204" pitchFamily="34" charset="0"/>
              <a:buChar char="•"/>
            </a:pPr>
            <a:r>
              <a:rPr lang="en-US" b="1" dirty="0">
                <a:solidFill>
                  <a:schemeClr val="tx1">
                    <a:lumMod val="75000"/>
                    <a:lumOff val="25000"/>
                  </a:schemeClr>
                </a:solidFill>
                <a:latin typeface="Batang" panose="02030600000101010101" pitchFamily="18" charset="-127"/>
                <a:ea typeface="Batang" panose="02030600000101010101" pitchFamily="18" charset="-127"/>
              </a:rPr>
              <a:t>Include more attributes that are likely to have stronger effect on CHD</a:t>
            </a:r>
          </a:p>
        </p:txBody>
      </p:sp>
      <p:sp>
        <p:nvSpPr>
          <p:cNvPr id="17" name="Rectangle 16">
            <a:extLst>
              <a:ext uri="{FF2B5EF4-FFF2-40B4-BE49-F238E27FC236}">
                <a16:creationId xmlns:a16="http://schemas.microsoft.com/office/drawing/2014/main" id="{A69E3989-C462-49A6-86A8-355B60134A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id="{8FE4B8E1-4108-4F3B-AA31-922474DCDB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772842547"/>
      </p:ext>
    </p:extLst>
  </p:cSld>
  <p:clrMapOvr>
    <a:masterClrMapping/>
  </p:clrMapOvr>
</p:sld>
</file>

<file path=ppt/theme/theme1.xml><?xml version="1.0" encoding="utf-8"?>
<a:theme xmlns:a="http://schemas.openxmlformats.org/drawingml/2006/main" name="Retrospect">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02006FA4-1611-4B07-AF7F-85CF6D20EB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10</TotalTime>
  <Words>513</Words>
  <Application>Microsoft Office PowerPoint</Application>
  <PresentationFormat>Widescreen</PresentationFormat>
  <Paragraphs>35</Paragraphs>
  <Slides>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Batang</vt:lpstr>
      <vt:lpstr>Arial</vt:lpstr>
      <vt:lpstr>Book Antiqua</vt:lpstr>
      <vt:lpstr>Calibri</vt:lpstr>
      <vt:lpstr>Calibri Light</vt:lpstr>
      <vt:lpstr>Copperplate Gothic Bold</vt:lpstr>
      <vt:lpstr>Copperplate Gothic Light</vt:lpstr>
      <vt:lpstr>Retrospect</vt:lpstr>
      <vt:lpstr>TCLayout.ActiveDocument.1</vt:lpstr>
      <vt:lpstr>Capstone TWO – final presentation (Effect of COVID19 on stock market)</vt:lpstr>
      <vt:lpstr>Capstone one – final presentation (Prognosis of Chronical Heart Diseases)</vt:lpstr>
      <vt:lpstr>One of the leading reasons for death in US is Coronary or heart disease. Early prognosis of the disease by studying various factors like medical, demographic and behavioral in existing patients is done here, to find a possible trend that could help high risk patients in making appropriate changes in current lifestyle to avoid future occurrence of this disease .</vt:lpstr>
      <vt:lpstr>Comparative study of Men and Women with different underlying conditions shows hypertension, BP meds to be slightly corelated to CHD </vt:lpstr>
      <vt:lpstr>Comparison of Systolic BP and Cholesterol in the CHD positive and negative cases by gender shows some negligible fluctuations </vt:lpstr>
      <vt:lpstr>Comparison of BMI and Heart Rate in the CHD positive and negative cases by gender shows some increase in BMI of females in CHD positive. Heart rate changes are negligible.</vt:lpstr>
      <vt:lpstr>Further statistical analysis confirms very low correlation between the attributes and the Chronic Heart Disease.</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stone one – final presentation</dc:title>
  <dc:creator>Sangeeta Chatterjee</dc:creator>
  <cp:lastModifiedBy>Sangeeta Chatterjee</cp:lastModifiedBy>
  <cp:revision>1</cp:revision>
  <dcterms:created xsi:type="dcterms:W3CDTF">2020-05-12T10:27:51Z</dcterms:created>
  <dcterms:modified xsi:type="dcterms:W3CDTF">2020-06-09T15:49:58Z</dcterms:modified>
</cp:coreProperties>
</file>